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D1A1A8-E6C0-48AB-8795-8499F03CFF61}" v="1220" dt="2019-12-19T19:48:08.436"/>
    <p1510:client id="{AA6EECEB-8DF5-4631-BA69-79D76AAC773B}" v="165" dt="2019-12-19T19:38:06.3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ábor Hernádi" userId="62b4a50d463b219a" providerId="LiveId" clId="{1D96017F-D4F2-4265-BA8D-52FC03221212}"/>
    <pc:docChg chg="undo custSel addSld delSld modSld">
      <pc:chgData name="Gábor Hernádi" userId="62b4a50d463b219a" providerId="LiveId" clId="{1D96017F-D4F2-4265-BA8D-52FC03221212}" dt="2019-12-19T19:33:17.937" v="1084" actId="47"/>
      <pc:docMkLst>
        <pc:docMk/>
      </pc:docMkLst>
      <pc:sldChg chg="addSp delSp modSp delDesignElem">
        <pc:chgData name="Gábor Hernádi" userId="62b4a50d463b219a" providerId="LiveId" clId="{1D96017F-D4F2-4265-BA8D-52FC03221212}" dt="2019-12-19T19:13:15.096" v="1039"/>
        <pc:sldMkLst>
          <pc:docMk/>
          <pc:sldMk cId="2913977422" sldId="257"/>
        </pc:sldMkLst>
        <pc:spChg chg="mod">
          <ac:chgData name="Gábor Hernádi" userId="62b4a50d463b219a" providerId="LiveId" clId="{1D96017F-D4F2-4265-BA8D-52FC03221212}" dt="2019-12-19T19:02:00.283" v="957" actId="20577"/>
          <ac:spMkLst>
            <pc:docMk/>
            <pc:sldMk cId="2913977422" sldId="257"/>
            <ac:spMk id="3" creationId="{68E9A6F5-48B8-4636-B42D-51757DB7BD0A}"/>
          </ac:spMkLst>
        </pc:spChg>
        <pc:spChg chg="del">
          <ac:chgData name="Gábor Hernádi" userId="62b4a50d463b219a" providerId="LiveId" clId="{1D96017F-D4F2-4265-BA8D-52FC03221212}" dt="2019-12-19T19:13:15.096" v="1039"/>
          <ac:spMkLst>
            <pc:docMk/>
            <pc:sldMk cId="2913977422" sldId="257"/>
            <ac:spMk id="71" creationId="{CBA85B1C-8413-4C7D-98D0-7956747EABE8}"/>
          </ac:spMkLst>
        </pc:spChg>
        <pc:spChg chg="del">
          <ac:chgData name="Gábor Hernádi" userId="62b4a50d463b219a" providerId="LiveId" clId="{1D96017F-D4F2-4265-BA8D-52FC03221212}" dt="2019-12-19T19:13:15.096" v="1039"/>
          <ac:spMkLst>
            <pc:docMk/>
            <pc:sldMk cId="2913977422" sldId="257"/>
            <ac:spMk id="73" creationId="{A649C214-D583-4DF7-88CA-1EE5EA0DD7D0}"/>
          </ac:spMkLst>
        </pc:spChg>
        <pc:picChg chg="add mod">
          <ac:chgData name="Gábor Hernádi" userId="62b4a50d463b219a" providerId="LiveId" clId="{1D96017F-D4F2-4265-BA8D-52FC03221212}" dt="2019-12-19T19:05:09.980" v="983" actId="14100"/>
          <ac:picMkLst>
            <pc:docMk/>
            <pc:sldMk cId="2913977422" sldId="257"/>
            <ac:picMk id="2050" creationId="{1CCA4CE5-6D78-4724-9395-FB234E77DAB7}"/>
          </ac:picMkLst>
        </pc:picChg>
      </pc:sldChg>
      <pc:sldChg chg="addSp delSp modSp add setBg">
        <pc:chgData name="Gábor Hernádi" userId="62b4a50d463b219a" providerId="LiveId" clId="{1D96017F-D4F2-4265-BA8D-52FC03221212}" dt="2019-12-19T19:23:03.723" v="1050" actId="1076"/>
        <pc:sldMkLst>
          <pc:docMk/>
          <pc:sldMk cId="1805182795" sldId="258"/>
        </pc:sldMkLst>
        <pc:spChg chg="mod">
          <ac:chgData name="Gábor Hernádi" userId="62b4a50d463b219a" providerId="LiveId" clId="{1D96017F-D4F2-4265-BA8D-52FC03221212}" dt="2019-12-19T17:35:48.656" v="263" actId="20577"/>
          <ac:spMkLst>
            <pc:docMk/>
            <pc:sldMk cId="1805182795" sldId="258"/>
            <ac:spMk id="2" creationId="{FF265C7D-7C3E-4F91-A09F-3995DA9CB1AD}"/>
          </ac:spMkLst>
        </pc:spChg>
        <pc:spChg chg="mod">
          <ac:chgData name="Gábor Hernádi" userId="62b4a50d463b219a" providerId="LiveId" clId="{1D96017F-D4F2-4265-BA8D-52FC03221212}" dt="2019-12-19T19:12:56.787" v="1037" actId="20577"/>
          <ac:spMkLst>
            <pc:docMk/>
            <pc:sldMk cId="1805182795" sldId="258"/>
            <ac:spMk id="3" creationId="{25362B42-AE84-4353-AC08-AE1AF770A99D}"/>
          </ac:spMkLst>
        </pc:spChg>
        <pc:spChg chg="add del mod">
          <ac:chgData name="Gábor Hernádi" userId="62b4a50d463b219a" providerId="LiveId" clId="{1D96017F-D4F2-4265-BA8D-52FC03221212}" dt="2019-12-19T19:15:16.761" v="1047"/>
          <ac:spMkLst>
            <pc:docMk/>
            <pc:sldMk cId="1805182795" sldId="258"/>
            <ac:spMk id="7" creationId="{E9D631FE-20B8-41B0-8CC3-0E7A5E18730B}"/>
          </ac:spMkLst>
        </pc:spChg>
        <pc:picChg chg="add del mod ord">
          <ac:chgData name="Gábor Hernádi" userId="62b4a50d463b219a" providerId="LiveId" clId="{1D96017F-D4F2-4265-BA8D-52FC03221212}" dt="2019-12-19T19:13:30.252" v="1041" actId="478"/>
          <ac:picMkLst>
            <pc:docMk/>
            <pc:sldMk cId="1805182795" sldId="258"/>
            <ac:picMk id="4" creationId="{DEFFFD64-8031-4CF8-9A01-868D8827245F}"/>
          </ac:picMkLst>
        </pc:picChg>
        <pc:picChg chg="add mod">
          <ac:chgData name="Gábor Hernádi" userId="62b4a50d463b219a" providerId="LiveId" clId="{1D96017F-D4F2-4265-BA8D-52FC03221212}" dt="2019-12-19T19:23:03.723" v="1050" actId="1076"/>
          <ac:picMkLst>
            <pc:docMk/>
            <pc:sldMk cId="1805182795" sldId="258"/>
            <ac:picMk id="6" creationId="{0C36F594-B2B8-4E5D-890D-1152B1B9EB6A}"/>
          </ac:picMkLst>
        </pc:picChg>
      </pc:sldChg>
      <pc:sldChg chg="addSp modSp add">
        <pc:chgData name="Gábor Hernádi" userId="62b4a50d463b219a" providerId="LiveId" clId="{1D96017F-D4F2-4265-BA8D-52FC03221212}" dt="2019-12-19T19:31:56.127" v="1081" actId="14100"/>
        <pc:sldMkLst>
          <pc:docMk/>
          <pc:sldMk cId="3179334515" sldId="259"/>
        </pc:sldMkLst>
        <pc:spChg chg="mod">
          <ac:chgData name="Gábor Hernádi" userId="62b4a50d463b219a" providerId="LiveId" clId="{1D96017F-D4F2-4265-BA8D-52FC03221212}" dt="2019-12-19T17:37:48.047" v="428" actId="20577"/>
          <ac:spMkLst>
            <pc:docMk/>
            <pc:sldMk cId="3179334515" sldId="259"/>
            <ac:spMk id="2" creationId="{B8CF9DD3-E8EB-4096-AD87-636710B75FD8}"/>
          </ac:spMkLst>
        </pc:spChg>
        <pc:spChg chg="mod">
          <ac:chgData name="Gábor Hernádi" userId="62b4a50d463b219a" providerId="LiveId" clId="{1D96017F-D4F2-4265-BA8D-52FC03221212}" dt="2019-12-19T19:31:56.127" v="1081" actId="14100"/>
          <ac:spMkLst>
            <pc:docMk/>
            <pc:sldMk cId="3179334515" sldId="259"/>
            <ac:spMk id="3" creationId="{3BD01DB7-A332-4575-BE60-F27DA26D37E6}"/>
          </ac:spMkLst>
        </pc:spChg>
        <pc:spChg chg="add mod">
          <ac:chgData name="Gábor Hernádi" userId="62b4a50d463b219a" providerId="LiveId" clId="{1D96017F-D4F2-4265-BA8D-52FC03221212}" dt="2019-12-19T19:31:32.315" v="1069" actId="11529"/>
          <ac:spMkLst>
            <pc:docMk/>
            <pc:sldMk cId="3179334515" sldId="259"/>
            <ac:spMk id="5" creationId="{715D0FD4-BF25-4A17-B2DA-EECC56EBF5E2}"/>
          </ac:spMkLst>
        </pc:spChg>
        <pc:picChg chg="add mod">
          <ac:chgData name="Gábor Hernádi" userId="62b4a50d463b219a" providerId="LiveId" clId="{1D96017F-D4F2-4265-BA8D-52FC03221212}" dt="2019-12-19T18:20:48.466" v="622" actId="1076"/>
          <ac:picMkLst>
            <pc:docMk/>
            <pc:sldMk cId="3179334515" sldId="259"/>
            <ac:picMk id="1026" creationId="{93582F42-2BB7-441A-B925-B82F157D89AF}"/>
          </ac:picMkLst>
        </pc:picChg>
      </pc:sldChg>
      <pc:sldChg chg="addSp delSp modSp add del">
        <pc:chgData name="Gábor Hernádi" userId="62b4a50d463b219a" providerId="LiveId" clId="{1D96017F-D4F2-4265-BA8D-52FC03221212}" dt="2019-12-19T19:33:17.937" v="1084" actId="47"/>
        <pc:sldMkLst>
          <pc:docMk/>
          <pc:sldMk cId="3652227146" sldId="260"/>
        </pc:sldMkLst>
        <pc:spChg chg="mod">
          <ac:chgData name="Gábor Hernádi" userId="62b4a50d463b219a" providerId="LiveId" clId="{1D96017F-D4F2-4265-BA8D-52FC03221212}" dt="2019-12-19T17:40:53.429" v="596" actId="20577"/>
          <ac:spMkLst>
            <pc:docMk/>
            <pc:sldMk cId="3652227146" sldId="260"/>
            <ac:spMk id="2" creationId="{CF8C1AE8-3EAA-42F3-A0DC-9817EA6B43FA}"/>
          </ac:spMkLst>
        </pc:spChg>
        <pc:spChg chg="del">
          <ac:chgData name="Gábor Hernádi" userId="62b4a50d463b219a" providerId="LiveId" clId="{1D96017F-D4F2-4265-BA8D-52FC03221212}" dt="2019-12-19T18:21:17.460" v="629" actId="931"/>
          <ac:spMkLst>
            <pc:docMk/>
            <pc:sldMk cId="3652227146" sldId="260"/>
            <ac:spMk id="3" creationId="{AA3BE4F7-1779-4730-A198-6CFBB86402B2}"/>
          </ac:spMkLst>
        </pc:spChg>
        <pc:picChg chg="add del mod">
          <ac:chgData name="Gábor Hernádi" userId="62b4a50d463b219a" providerId="LiveId" clId="{1D96017F-D4F2-4265-BA8D-52FC03221212}" dt="2019-12-19T18:21:10.619" v="628" actId="478"/>
          <ac:picMkLst>
            <pc:docMk/>
            <pc:sldMk cId="3652227146" sldId="260"/>
            <ac:picMk id="4" creationId="{5BE04ED1-D0B3-482A-B2A2-E0BF3A2F42EC}"/>
          </ac:picMkLst>
        </pc:picChg>
        <pc:picChg chg="add mod">
          <ac:chgData name="Gábor Hernádi" userId="62b4a50d463b219a" providerId="LiveId" clId="{1D96017F-D4F2-4265-BA8D-52FC03221212}" dt="2019-12-19T18:51:03.478" v="689" actId="1076"/>
          <ac:picMkLst>
            <pc:docMk/>
            <pc:sldMk cId="3652227146" sldId="260"/>
            <ac:picMk id="6" creationId="{A8B4907F-E187-498B-9BB3-8A4585D8A9AE}"/>
          </ac:picMkLst>
        </pc:picChg>
      </pc:sldChg>
      <pc:sldChg chg="del">
        <pc:chgData name="Gábor Hernádi" userId="62b4a50d463b219a" providerId="LiveId" clId="{1D96017F-D4F2-4265-BA8D-52FC03221212}" dt="2019-12-19T19:33:07.938" v="1082" actId="47"/>
        <pc:sldMkLst>
          <pc:docMk/>
          <pc:sldMk cId="3320077660" sldId="261"/>
        </pc:sldMkLst>
      </pc:sldChg>
    </pc:docChg>
  </pc:docChgLst>
  <pc:docChgLst>
    <pc:chgData name="Gábor Hernádi" userId="62b4a50d463b219a" providerId="Windows Live" clId="Web-{AA6EECEB-8DF5-4631-BA69-79D76AAC773B}"/>
    <pc:docChg chg="modSld">
      <pc:chgData name="Gábor Hernádi" userId="62b4a50d463b219a" providerId="Windows Live" clId="Web-{AA6EECEB-8DF5-4631-BA69-79D76AAC773B}" dt="2019-12-19T19:38:06.331" v="164" actId="20577"/>
      <pc:docMkLst>
        <pc:docMk/>
      </pc:docMkLst>
      <pc:sldChg chg="modSp">
        <pc:chgData name="Gábor Hernádi" userId="62b4a50d463b219a" providerId="Windows Live" clId="Web-{AA6EECEB-8DF5-4631-BA69-79D76AAC773B}" dt="2019-12-19T19:36:49.190" v="160" actId="1076"/>
        <pc:sldMkLst>
          <pc:docMk/>
          <pc:sldMk cId="3179334515" sldId="259"/>
        </pc:sldMkLst>
        <pc:spChg chg="mod">
          <ac:chgData name="Gábor Hernádi" userId="62b4a50d463b219a" providerId="Windows Live" clId="Web-{AA6EECEB-8DF5-4631-BA69-79D76AAC773B}" dt="2019-12-19T19:36:44.752" v="159" actId="14100"/>
          <ac:spMkLst>
            <pc:docMk/>
            <pc:sldMk cId="3179334515" sldId="259"/>
            <ac:spMk id="3" creationId="{3BD01DB7-A332-4575-BE60-F27DA26D37E6}"/>
          </ac:spMkLst>
        </pc:spChg>
        <pc:spChg chg="mod">
          <ac:chgData name="Gábor Hernádi" userId="62b4a50d463b219a" providerId="Windows Live" clId="Web-{AA6EECEB-8DF5-4631-BA69-79D76AAC773B}" dt="2019-12-19T19:36:49.190" v="160" actId="1076"/>
          <ac:spMkLst>
            <pc:docMk/>
            <pc:sldMk cId="3179334515" sldId="259"/>
            <ac:spMk id="5" creationId="{715D0FD4-BF25-4A17-B2DA-EECC56EBF5E2}"/>
          </ac:spMkLst>
        </pc:spChg>
      </pc:sldChg>
      <pc:sldChg chg="modSp">
        <pc:chgData name="Gábor Hernádi" userId="62b4a50d463b219a" providerId="Windows Live" clId="Web-{AA6EECEB-8DF5-4631-BA69-79D76AAC773B}" dt="2019-12-19T19:38:06.331" v="163" actId="20577"/>
        <pc:sldMkLst>
          <pc:docMk/>
          <pc:sldMk cId="3652227146" sldId="260"/>
        </pc:sldMkLst>
        <pc:spChg chg="mod">
          <ac:chgData name="Gábor Hernádi" userId="62b4a50d463b219a" providerId="Windows Live" clId="Web-{AA6EECEB-8DF5-4631-BA69-79D76AAC773B}" dt="2019-12-19T19:38:06.331" v="163" actId="20577"/>
          <ac:spMkLst>
            <pc:docMk/>
            <pc:sldMk cId="3652227146" sldId="260"/>
            <ac:spMk id="3" creationId="{966442D0-F68A-48E2-8AEF-D1595908984D}"/>
          </ac:spMkLst>
        </pc:spChg>
      </pc:sldChg>
    </pc:docChg>
  </pc:docChgLst>
  <pc:docChgLst>
    <pc:chgData name="Rafael Santos" userId="21901fccb52410f7" providerId="LiveId" clId="{07D1A1A8-E6C0-48AB-8795-8499F03CFF61}"/>
    <pc:docChg chg="undo redo custSel mod addSld delSld modSld modMainMaster">
      <pc:chgData name="Rafael Santos" userId="21901fccb52410f7" providerId="LiveId" clId="{07D1A1A8-E6C0-48AB-8795-8499F03CFF61}" dt="2019-12-19T19:48:08.436" v="1205" actId="1076"/>
      <pc:docMkLst>
        <pc:docMk/>
      </pc:docMkLst>
      <pc:sldChg chg="addSp delSp modSp mod setBg">
        <pc:chgData name="Rafael Santos" userId="21901fccb52410f7" providerId="LiveId" clId="{07D1A1A8-E6C0-48AB-8795-8499F03CFF61}" dt="2019-12-19T19:08:02.240" v="293" actId="1076"/>
        <pc:sldMkLst>
          <pc:docMk/>
          <pc:sldMk cId="2913977422" sldId="257"/>
        </pc:sldMkLst>
        <pc:spChg chg="mod">
          <ac:chgData name="Rafael Santos" userId="21901fccb52410f7" providerId="LiveId" clId="{07D1A1A8-E6C0-48AB-8795-8499F03CFF61}" dt="2019-12-19T19:07:49.005" v="290" actId="26606"/>
          <ac:spMkLst>
            <pc:docMk/>
            <pc:sldMk cId="2913977422" sldId="257"/>
            <ac:spMk id="2" creationId="{76324D83-3C35-4264-9EA1-A2EDA66A1EDE}"/>
          </ac:spMkLst>
        </pc:spChg>
        <pc:spChg chg="mod">
          <ac:chgData name="Rafael Santos" userId="21901fccb52410f7" providerId="LiveId" clId="{07D1A1A8-E6C0-48AB-8795-8499F03CFF61}" dt="2019-12-19T19:07:49.005" v="290" actId="26606"/>
          <ac:spMkLst>
            <pc:docMk/>
            <pc:sldMk cId="2913977422" sldId="257"/>
            <ac:spMk id="3" creationId="{68E9A6F5-48B8-4636-B42D-51757DB7BD0A}"/>
          </ac:spMkLst>
        </pc:spChg>
        <pc:spChg chg="add mod">
          <ac:chgData name="Rafael Santos" userId="21901fccb52410f7" providerId="LiveId" clId="{07D1A1A8-E6C0-48AB-8795-8499F03CFF61}" dt="2019-12-19T19:07:49.231" v="291" actId="20577"/>
          <ac:spMkLst>
            <pc:docMk/>
            <pc:sldMk cId="2913977422" sldId="257"/>
            <ac:spMk id="71" creationId="{CBA85B1C-8413-4C7D-98D0-7956747EABE8}"/>
          </ac:spMkLst>
        </pc:spChg>
        <pc:spChg chg="add mod">
          <ac:chgData name="Rafael Santos" userId="21901fccb52410f7" providerId="LiveId" clId="{07D1A1A8-E6C0-48AB-8795-8499F03CFF61}" dt="2019-12-19T19:07:49.236" v="292" actId="20577"/>
          <ac:spMkLst>
            <pc:docMk/>
            <pc:sldMk cId="2913977422" sldId="257"/>
            <ac:spMk id="73" creationId="{A649C214-D583-4DF7-88CA-1EE5EA0DD7D0}"/>
          </ac:spMkLst>
        </pc:spChg>
        <pc:picChg chg="add mod">
          <ac:chgData name="Rafael Santos" userId="21901fccb52410f7" providerId="LiveId" clId="{07D1A1A8-E6C0-48AB-8795-8499F03CFF61}" dt="2019-12-19T19:08:02.240" v="293" actId="1076"/>
          <ac:picMkLst>
            <pc:docMk/>
            <pc:sldMk cId="2913977422" sldId="257"/>
            <ac:picMk id="1026" creationId="{A3F0D951-BD6A-448E-B726-AAD84B0D484C}"/>
          </ac:picMkLst>
        </pc:picChg>
        <pc:picChg chg="del">
          <ac:chgData name="Rafael Santos" userId="21901fccb52410f7" providerId="LiveId" clId="{07D1A1A8-E6C0-48AB-8795-8499F03CFF61}" dt="2019-12-19T19:07:41.920" v="288" actId="478"/>
          <ac:picMkLst>
            <pc:docMk/>
            <pc:sldMk cId="2913977422" sldId="257"/>
            <ac:picMk id="2050" creationId="{1CCA4CE5-6D78-4724-9395-FB234E77DAB7}"/>
          </ac:picMkLst>
        </pc:picChg>
      </pc:sldChg>
      <pc:sldChg chg="addSp delSp modSp mod setBg">
        <pc:chgData name="Rafael Santos" userId="21901fccb52410f7" providerId="LiveId" clId="{07D1A1A8-E6C0-48AB-8795-8499F03CFF61}" dt="2019-12-19T19:27:20.279" v="554"/>
        <pc:sldMkLst>
          <pc:docMk/>
          <pc:sldMk cId="1805182795" sldId="258"/>
        </pc:sldMkLst>
        <pc:spChg chg="mod">
          <ac:chgData name="Rafael Santos" userId="21901fccb52410f7" providerId="LiveId" clId="{07D1A1A8-E6C0-48AB-8795-8499F03CFF61}" dt="2019-12-19T19:27:19.721" v="539" actId="1036"/>
          <ac:spMkLst>
            <pc:docMk/>
            <pc:sldMk cId="1805182795" sldId="258"/>
            <ac:spMk id="2" creationId="{FF265C7D-7C3E-4F91-A09F-3995DA9CB1AD}"/>
          </ac:spMkLst>
        </pc:spChg>
        <pc:spChg chg="mod">
          <ac:chgData name="Rafael Santos" userId="21901fccb52410f7" providerId="LiveId" clId="{07D1A1A8-E6C0-48AB-8795-8499F03CFF61}" dt="2019-12-19T19:21:21.917" v="425" actId="26606"/>
          <ac:spMkLst>
            <pc:docMk/>
            <pc:sldMk cId="1805182795" sldId="258"/>
            <ac:spMk id="3" creationId="{25362B42-AE84-4353-AC08-AE1AF770A99D}"/>
          </ac:spMkLst>
        </pc:spChg>
        <pc:spChg chg="add del">
          <ac:chgData name="Rafael Santos" userId="21901fccb52410f7" providerId="LiveId" clId="{07D1A1A8-E6C0-48AB-8795-8499F03CFF61}" dt="2019-12-19T19:24:48.255" v="455"/>
          <ac:spMkLst>
            <pc:docMk/>
            <pc:sldMk cId="1805182795" sldId="258"/>
            <ac:spMk id="7" creationId="{CA0EA769-B02A-4F82-9EF9-1FBE429E294F}"/>
          </ac:spMkLst>
        </pc:spChg>
        <pc:spChg chg="add del mod">
          <ac:chgData name="Rafael Santos" userId="21901fccb52410f7" providerId="LiveId" clId="{07D1A1A8-E6C0-48AB-8795-8499F03CFF61}" dt="2019-12-19T19:24:59.428" v="457" actId="26606"/>
          <ac:spMkLst>
            <pc:docMk/>
            <pc:sldMk cId="1805182795" sldId="258"/>
            <ac:spMk id="11" creationId="{CBA85B1C-8413-4C7D-98D0-7956747EABE8}"/>
          </ac:spMkLst>
        </pc:spChg>
        <pc:spChg chg="add del mod">
          <ac:chgData name="Rafael Santos" userId="21901fccb52410f7" providerId="LiveId" clId="{07D1A1A8-E6C0-48AB-8795-8499F03CFF61}" dt="2019-12-19T19:24:59.428" v="457" actId="26606"/>
          <ac:spMkLst>
            <pc:docMk/>
            <pc:sldMk cId="1805182795" sldId="258"/>
            <ac:spMk id="13" creationId="{A649C214-D583-4DF7-88CA-1EE5EA0DD7D0}"/>
          </ac:spMkLst>
        </pc:spChg>
        <pc:spChg chg="add mod">
          <ac:chgData name="Rafael Santos" userId="21901fccb52410f7" providerId="LiveId" clId="{07D1A1A8-E6C0-48AB-8795-8499F03CFF61}" dt="2019-12-19T19:25:02.252" v="458" actId="20577"/>
          <ac:spMkLst>
            <pc:docMk/>
            <pc:sldMk cId="1805182795" sldId="258"/>
            <ac:spMk id="18" creationId="{CBA85B1C-8413-4C7D-98D0-7956747EABE8}"/>
          </ac:spMkLst>
        </pc:spChg>
        <pc:spChg chg="add mod">
          <ac:chgData name="Rafael Santos" userId="21901fccb52410f7" providerId="LiveId" clId="{07D1A1A8-E6C0-48AB-8795-8499F03CFF61}" dt="2019-12-19T19:25:02.255" v="459" actId="20577"/>
          <ac:spMkLst>
            <pc:docMk/>
            <pc:sldMk cId="1805182795" sldId="258"/>
            <ac:spMk id="20" creationId="{A649C214-D583-4DF7-88CA-1EE5EA0DD7D0}"/>
          </ac:spMkLst>
        </pc:spChg>
        <pc:graphicFrameChg chg="add mod ord modVis">
          <ac:chgData name="Rafael Santos" userId="21901fccb52410f7" providerId="LiveId" clId="{07D1A1A8-E6C0-48AB-8795-8499F03CFF61}" dt="2019-12-19T19:21:21.878" v="380" actId="14100"/>
          <ac:graphicFrameMkLst>
            <pc:docMk/>
            <pc:sldMk cId="1805182795" sldId="258"/>
            <ac:graphicFrameMk id="5" creationId="{75E2B1BF-B0D9-49D5-8A0A-C3FFA2FDCF57}"/>
          </ac:graphicFrameMkLst>
        </pc:graphicFrameChg>
        <pc:graphicFrameChg chg="add mod ord modVis">
          <ac:chgData name="Rafael Santos" userId="21901fccb52410f7" providerId="LiveId" clId="{07D1A1A8-E6C0-48AB-8795-8499F03CFF61}" dt="2019-12-19T19:27:20.279" v="554"/>
          <ac:graphicFrameMkLst>
            <pc:docMk/>
            <pc:sldMk cId="1805182795" sldId="258"/>
            <ac:graphicFrameMk id="8" creationId="{9BBA3B4D-E453-40F2-898F-CEEB2428389D}"/>
          </ac:graphicFrameMkLst>
        </pc:graphicFrameChg>
        <pc:picChg chg="add del mod modCrop">
          <ac:chgData name="Rafael Santos" userId="21901fccb52410f7" providerId="LiveId" clId="{07D1A1A8-E6C0-48AB-8795-8499F03CFF61}" dt="2019-12-19T19:25:11.270" v="462" actId="18131"/>
          <ac:picMkLst>
            <pc:docMk/>
            <pc:sldMk cId="1805182795" sldId="258"/>
            <ac:picMk id="6" creationId="{0C36F594-B2B8-4E5D-890D-1152B1B9EB6A}"/>
          </ac:picMkLst>
        </pc:picChg>
      </pc:sldChg>
      <pc:sldChg chg="addSp delSp modSp mod setBg">
        <pc:chgData name="Rafael Santos" userId="21901fccb52410f7" providerId="LiveId" clId="{07D1A1A8-E6C0-48AB-8795-8499F03CFF61}" dt="2019-12-19T19:36:50.411" v="579" actId="6549"/>
        <pc:sldMkLst>
          <pc:docMk/>
          <pc:sldMk cId="3179334515" sldId="259"/>
        </pc:sldMkLst>
        <pc:spChg chg="del mod">
          <ac:chgData name="Rafael Santos" userId="21901fccb52410f7" providerId="LiveId" clId="{07D1A1A8-E6C0-48AB-8795-8499F03CFF61}" dt="2019-12-19T19:27:27.267" v="555" actId="478"/>
          <ac:spMkLst>
            <pc:docMk/>
            <pc:sldMk cId="3179334515" sldId="259"/>
            <ac:spMk id="2" creationId="{B8CF9DD3-E8EB-4096-AD87-636710B75FD8}"/>
          </ac:spMkLst>
        </pc:spChg>
        <pc:spChg chg="mod">
          <ac:chgData name="Rafael Santos" userId="21901fccb52410f7" providerId="LiveId" clId="{07D1A1A8-E6C0-48AB-8795-8499F03CFF61}" dt="2019-12-19T19:36:50.411" v="579" actId="6549"/>
          <ac:spMkLst>
            <pc:docMk/>
            <pc:sldMk cId="3179334515" sldId="259"/>
            <ac:spMk id="3" creationId="{3BD01DB7-A332-4575-BE60-F27DA26D37E6}"/>
          </ac:spMkLst>
        </pc:spChg>
        <pc:spChg chg="add del mod">
          <ac:chgData name="Rafael Santos" userId="21901fccb52410f7" providerId="LiveId" clId="{07D1A1A8-E6C0-48AB-8795-8499F03CFF61}" dt="2019-12-19T19:27:29.375" v="559" actId="478"/>
          <ac:spMkLst>
            <pc:docMk/>
            <pc:sldMk cId="3179334515" sldId="259"/>
            <ac:spMk id="6" creationId="{3F7871F1-AB8F-4AEB-8120-B9FDDC9A951D}"/>
          </ac:spMkLst>
        </pc:spChg>
        <pc:spChg chg="add mod">
          <ac:chgData name="Rafael Santos" userId="21901fccb52410f7" providerId="LiveId" clId="{07D1A1A8-E6C0-48AB-8795-8499F03CFF61}" dt="2019-12-19T19:29:42.587" v="577" actId="1076"/>
          <ac:spMkLst>
            <pc:docMk/>
            <pc:sldMk cId="3179334515" sldId="259"/>
            <ac:spMk id="8" creationId="{98198EEF-4493-4656-B563-A3E9CEFAB463}"/>
          </ac:spMkLst>
        </pc:spChg>
        <pc:graphicFrameChg chg="add mod ord modVis">
          <ac:chgData name="Rafael Santos" userId="21901fccb52410f7" providerId="LiveId" clId="{07D1A1A8-E6C0-48AB-8795-8499F03CFF61}" dt="2019-12-19T19:27:29.884" v="561"/>
          <ac:graphicFrameMkLst>
            <pc:docMk/>
            <pc:sldMk cId="3179334515" sldId="259"/>
            <ac:graphicFrameMk id="4" creationId="{59FE731D-F3FB-4AD6-BE70-5D4A3140C549}"/>
          </ac:graphicFrameMkLst>
        </pc:graphicFrameChg>
        <pc:picChg chg="mod">
          <ac:chgData name="Rafael Santos" userId="21901fccb52410f7" providerId="LiveId" clId="{07D1A1A8-E6C0-48AB-8795-8499F03CFF61}" dt="2019-12-19T19:27:03.732" v="464" actId="26606"/>
          <ac:picMkLst>
            <pc:docMk/>
            <pc:sldMk cId="3179334515" sldId="259"/>
            <ac:picMk id="1026" creationId="{93582F42-2BB7-441A-B925-B82F157D89AF}"/>
          </ac:picMkLst>
        </pc:picChg>
      </pc:sldChg>
      <pc:sldChg chg="addSp delSp modSp">
        <pc:chgData name="Rafael Santos" userId="21901fccb52410f7" providerId="LiveId" clId="{07D1A1A8-E6C0-48AB-8795-8499F03CFF61}" dt="2019-12-19T19:42:21.647" v="713" actId="1076"/>
        <pc:sldMkLst>
          <pc:docMk/>
          <pc:sldMk cId="3652227146" sldId="260"/>
        </pc:sldMkLst>
        <pc:spChg chg="add del mod">
          <ac:chgData name="Rafael Santos" userId="21901fccb52410f7" providerId="LiveId" clId="{07D1A1A8-E6C0-48AB-8795-8499F03CFF61}" dt="2019-12-19T19:42:21.647" v="713" actId="1076"/>
          <ac:spMkLst>
            <pc:docMk/>
            <pc:sldMk cId="3652227146" sldId="260"/>
            <ac:spMk id="3" creationId="{966442D0-F68A-48E2-8AEF-D1595908984D}"/>
          </ac:spMkLst>
        </pc:spChg>
        <pc:spChg chg="add del mod">
          <ac:chgData name="Rafael Santos" userId="21901fccb52410f7" providerId="LiveId" clId="{07D1A1A8-E6C0-48AB-8795-8499F03CFF61}" dt="2019-12-19T19:38:57.381" v="605" actId="478"/>
          <ac:spMkLst>
            <pc:docMk/>
            <pc:sldMk cId="3652227146" sldId="260"/>
            <ac:spMk id="4" creationId="{D9F1A452-2F02-4AFB-B393-07A06A77E8B8}"/>
          </ac:spMkLst>
        </pc:spChg>
        <pc:picChg chg="add del">
          <ac:chgData name="Rafael Santos" userId="21901fccb52410f7" providerId="LiveId" clId="{07D1A1A8-E6C0-48AB-8795-8499F03CFF61}" dt="2019-12-19T19:41:49.539" v="705" actId="478"/>
          <ac:picMkLst>
            <pc:docMk/>
            <pc:sldMk cId="3652227146" sldId="260"/>
            <ac:picMk id="5" creationId="{6FB7043D-A5BF-4FB2-BB46-DA404FAA713C}"/>
          </ac:picMkLst>
        </pc:picChg>
        <pc:picChg chg="del mod">
          <ac:chgData name="Rafael Santos" userId="21901fccb52410f7" providerId="LiveId" clId="{07D1A1A8-E6C0-48AB-8795-8499F03CFF61}" dt="2019-12-19T19:38:47.652" v="602"/>
          <ac:picMkLst>
            <pc:docMk/>
            <pc:sldMk cId="3652227146" sldId="260"/>
            <ac:picMk id="6" creationId="{A8B4907F-E187-498B-9BB3-8A4585D8A9AE}"/>
          </ac:picMkLst>
        </pc:picChg>
        <pc:picChg chg="add del mod">
          <ac:chgData name="Rafael Santos" userId="21901fccb52410f7" providerId="LiveId" clId="{07D1A1A8-E6C0-48AB-8795-8499F03CFF61}" dt="2019-12-19T19:41:14.117" v="685"/>
          <ac:picMkLst>
            <pc:docMk/>
            <pc:sldMk cId="3652227146" sldId="260"/>
            <ac:picMk id="4098" creationId="{B1F57131-C2DB-48FF-B4A0-8210337E6A0B}"/>
          </ac:picMkLst>
        </pc:picChg>
        <pc:picChg chg="add del mod">
          <ac:chgData name="Rafael Santos" userId="21901fccb52410f7" providerId="LiveId" clId="{07D1A1A8-E6C0-48AB-8795-8499F03CFF61}" dt="2019-12-19T19:41:35.787" v="697"/>
          <ac:picMkLst>
            <pc:docMk/>
            <pc:sldMk cId="3652227146" sldId="260"/>
            <ac:picMk id="4100" creationId="{B0F60566-5D08-4B8D-98E7-EB1D17C50D7D}"/>
          </ac:picMkLst>
        </pc:picChg>
        <pc:picChg chg="add del">
          <ac:chgData name="Rafael Santos" userId="21901fccb52410f7" providerId="LiveId" clId="{07D1A1A8-E6C0-48AB-8795-8499F03CFF61}" dt="2019-12-19T19:41:45.947" v="703"/>
          <ac:picMkLst>
            <pc:docMk/>
            <pc:sldMk cId="3652227146" sldId="260"/>
            <ac:picMk id="4102" creationId="{25305F30-D9D9-4236-959D-100B9625C0F6}"/>
          </ac:picMkLst>
        </pc:picChg>
        <pc:picChg chg="add mod">
          <ac:chgData name="Rafael Santos" userId="21901fccb52410f7" providerId="LiveId" clId="{07D1A1A8-E6C0-48AB-8795-8499F03CFF61}" dt="2019-12-19T19:42:17.638" v="712" actId="1076"/>
          <ac:picMkLst>
            <pc:docMk/>
            <pc:sldMk cId="3652227146" sldId="260"/>
            <ac:picMk id="4104" creationId="{E103F51A-BFCE-4308-B9E5-2D03FFF93240}"/>
          </ac:picMkLst>
        </pc:picChg>
      </pc:sldChg>
      <pc:sldChg chg="addSp delSp modSp add">
        <pc:chgData name="Rafael Santos" userId="21901fccb52410f7" providerId="LiveId" clId="{07D1A1A8-E6C0-48AB-8795-8499F03CFF61}" dt="2019-12-19T19:48:08.436" v="1205" actId="1076"/>
        <pc:sldMkLst>
          <pc:docMk/>
          <pc:sldMk cId="1442762444" sldId="261"/>
        </pc:sldMkLst>
        <pc:spChg chg="mod">
          <ac:chgData name="Rafael Santos" userId="21901fccb52410f7" providerId="LiveId" clId="{07D1A1A8-E6C0-48AB-8795-8499F03CFF61}" dt="2019-12-19T19:38:10.256" v="586" actId="20577"/>
          <ac:spMkLst>
            <pc:docMk/>
            <pc:sldMk cId="1442762444" sldId="261"/>
            <ac:spMk id="2" creationId="{5E00F479-D12B-475A-8F3A-67E76173011C}"/>
          </ac:spMkLst>
        </pc:spChg>
        <pc:spChg chg="del">
          <ac:chgData name="Rafael Santos" userId="21901fccb52410f7" providerId="LiveId" clId="{07D1A1A8-E6C0-48AB-8795-8499F03CFF61}" dt="2019-12-19T19:38:53.349" v="604" actId="478"/>
          <ac:spMkLst>
            <pc:docMk/>
            <pc:sldMk cId="1442762444" sldId="261"/>
            <ac:spMk id="3" creationId="{90B3EA0D-56FE-4973-B372-6F52E7A55475}"/>
          </ac:spMkLst>
        </pc:spChg>
        <pc:spChg chg="add del mod">
          <ac:chgData name="Rafael Santos" userId="21901fccb52410f7" providerId="LiveId" clId="{07D1A1A8-E6C0-48AB-8795-8499F03CFF61}" dt="2019-12-19T19:42:37.311" v="722"/>
          <ac:spMkLst>
            <pc:docMk/>
            <pc:sldMk cId="1442762444" sldId="261"/>
            <ac:spMk id="6" creationId="{C8545E1E-1C62-4AD4-9C31-96C4E722AAB1}"/>
          </ac:spMkLst>
        </pc:spChg>
        <pc:spChg chg="add mod">
          <ac:chgData name="Rafael Santos" userId="21901fccb52410f7" providerId="LiveId" clId="{07D1A1A8-E6C0-48AB-8795-8499F03CFF61}" dt="2019-12-19T19:48:08.436" v="1205" actId="1076"/>
          <ac:spMkLst>
            <pc:docMk/>
            <pc:sldMk cId="1442762444" sldId="261"/>
            <ac:spMk id="7" creationId="{63026EF9-3905-4CF3-8D0D-39B596F9F07C}"/>
          </ac:spMkLst>
        </pc:spChg>
        <pc:graphicFrameChg chg="add mod ord modVis">
          <ac:chgData name="Rafael Santos" userId="21901fccb52410f7" providerId="LiveId" clId="{07D1A1A8-E6C0-48AB-8795-8499F03CFF61}" dt="2019-12-19T19:38:10.823" v="601"/>
          <ac:graphicFrameMkLst>
            <pc:docMk/>
            <pc:sldMk cId="1442762444" sldId="261"/>
            <ac:graphicFrameMk id="4" creationId="{34F22A8A-8709-4671-AEED-B8222610684B}"/>
          </ac:graphicFrameMkLst>
        </pc:graphicFrameChg>
        <pc:picChg chg="add mod">
          <ac:chgData name="Rafael Santos" userId="21901fccb52410f7" providerId="LiveId" clId="{07D1A1A8-E6C0-48AB-8795-8499F03CFF61}" dt="2019-12-19T19:42:27.766" v="715" actId="14100"/>
          <ac:picMkLst>
            <pc:docMk/>
            <pc:sldMk cId="1442762444" sldId="261"/>
            <ac:picMk id="5" creationId="{393CC85C-093E-4A02-9A38-A2510D4AD869}"/>
          </ac:picMkLst>
        </pc:picChg>
      </pc:sldChg>
      <pc:sldChg chg="addSp add del">
        <pc:chgData name="Rafael Santos" userId="21901fccb52410f7" providerId="LiveId" clId="{07D1A1A8-E6C0-48AB-8795-8499F03CFF61}" dt="2019-12-19T19:29:24.426" v="572" actId="2696"/>
        <pc:sldMkLst>
          <pc:docMk/>
          <pc:sldMk cId="3320077660" sldId="261"/>
        </pc:sldMkLst>
        <pc:picChg chg="add">
          <ac:chgData name="Rafael Santos" userId="21901fccb52410f7" providerId="LiveId" clId="{07D1A1A8-E6C0-48AB-8795-8499F03CFF61}" dt="2019-12-19T19:19:37.996" v="295"/>
          <ac:picMkLst>
            <pc:docMk/>
            <pc:sldMk cId="3320077660" sldId="261"/>
            <ac:picMk id="4" creationId="{F29DC857-46B3-4A96-BE62-F613D7DE7535}"/>
          </ac:picMkLst>
        </pc:picChg>
      </pc:sldChg>
      <pc:sldMasterChg chg="addSp modSp">
        <pc:chgData name="Rafael Santos" userId="21901fccb52410f7" providerId="LiveId" clId="{07D1A1A8-E6C0-48AB-8795-8499F03CFF61}" dt="2019-12-19T19:27:04.370" v="523"/>
        <pc:sldMasterMkLst>
          <pc:docMk/>
          <pc:sldMasterMk cId="2478455646" sldId="2147483696"/>
        </pc:sldMasterMkLst>
        <pc:spChg chg="mod ord">
          <ac:chgData name="Rafael Santos" userId="21901fccb52410f7" providerId="LiveId" clId="{07D1A1A8-E6C0-48AB-8795-8499F03CFF61}" dt="2019-12-19T19:27:04.329" v="496"/>
          <ac:spMkLst>
            <pc:docMk/>
            <pc:sldMasterMk cId="2478455646" sldId="2147483696"/>
            <ac:spMk id="2" creationId="{00000000-0000-0000-0000-000000000000}"/>
          </ac:spMkLst>
        </pc:spChg>
        <pc:spChg chg="mod ord">
          <ac:chgData name="Rafael Santos" userId="21901fccb52410f7" providerId="LiveId" clId="{07D1A1A8-E6C0-48AB-8795-8499F03CFF61}" dt="2019-12-19T19:27:04.329" v="498"/>
          <ac:spMkLst>
            <pc:docMk/>
            <pc:sldMasterMk cId="2478455646" sldId="2147483696"/>
            <ac:spMk id="3" creationId="{00000000-0000-0000-0000-000000000000}"/>
          </ac:spMkLst>
        </pc:spChg>
        <pc:spChg chg="mod ord">
          <ac:chgData name="Rafael Santos" userId="21901fccb52410f7" providerId="LiveId" clId="{07D1A1A8-E6C0-48AB-8795-8499F03CFF61}" dt="2019-12-19T19:27:04.329" v="500"/>
          <ac:spMkLst>
            <pc:docMk/>
            <pc:sldMasterMk cId="2478455646" sldId="2147483696"/>
            <ac:spMk id="4" creationId="{00000000-0000-0000-0000-000000000000}"/>
          </ac:spMkLst>
        </pc:spChg>
        <pc:spChg chg="mod ord">
          <ac:chgData name="Rafael Santos" userId="21901fccb52410f7" providerId="LiveId" clId="{07D1A1A8-E6C0-48AB-8795-8499F03CFF61}" dt="2019-12-19T19:27:04.329" v="502"/>
          <ac:spMkLst>
            <pc:docMk/>
            <pc:sldMasterMk cId="2478455646" sldId="2147483696"/>
            <ac:spMk id="5" creationId="{00000000-0000-0000-0000-000000000000}"/>
          </ac:spMkLst>
        </pc:spChg>
        <pc:spChg chg="mod ord">
          <ac:chgData name="Rafael Santos" userId="21901fccb52410f7" providerId="LiveId" clId="{07D1A1A8-E6C0-48AB-8795-8499F03CFF61}" dt="2019-12-19T19:27:04.329" v="504"/>
          <ac:spMkLst>
            <pc:docMk/>
            <pc:sldMasterMk cId="2478455646" sldId="2147483696"/>
            <ac:spMk id="6" creationId="{00000000-0000-0000-0000-000000000000}"/>
          </ac:spMkLst>
        </pc:spChg>
        <pc:spChg chg="add mod ord modVis">
          <ac:chgData name="Rafael Santos" userId="21901fccb52410f7" providerId="LiveId" clId="{07D1A1A8-E6C0-48AB-8795-8499F03CFF61}" dt="2019-12-19T19:21:21.895" v="421" actId="962"/>
          <ac:spMkLst>
            <pc:docMk/>
            <pc:sldMasterMk cId="2478455646" sldId="2147483696"/>
            <ac:spMk id="7" creationId="{92C4EF70-45C8-4E47-BAB3-78DFB6AAA747}"/>
          </ac:spMkLst>
        </pc:spChg>
        <pc:spChg chg="add mod ord modVis">
          <ac:chgData name="Rafael Santos" userId="21901fccb52410f7" providerId="LiveId" clId="{07D1A1A8-E6C0-48AB-8795-8499F03CFF61}" dt="2019-12-19T19:27:04.328" v="494"/>
          <ac:spMkLst>
            <pc:docMk/>
            <pc:sldMasterMk cId="2478455646" sldId="2147483696"/>
            <ac:spMk id="9" creationId="{C7D88693-91FC-46E4-BC12-06A0DE8D2781}"/>
          </ac:spMkLst>
        </pc:spChg>
        <pc:spChg chg="mod ord">
          <ac:chgData name="Rafael Santos" userId="21901fccb52410f7" providerId="LiveId" clId="{07D1A1A8-E6C0-48AB-8795-8499F03CFF61}" dt="2019-12-19T19:27:04.334" v="506"/>
          <ac:spMkLst>
            <pc:docMk/>
            <pc:sldMasterMk cId="2478455646" sldId="2147483696"/>
            <ac:spMk id="11" creationId="{00000000-0000-0000-0000-000000000000}"/>
          </ac:spMkLst>
        </pc:spChg>
        <pc:spChg chg="mod ord">
          <ac:chgData name="Rafael Santos" userId="21901fccb52410f7" providerId="LiveId" clId="{07D1A1A8-E6C0-48AB-8795-8499F03CFF61}" dt="2019-12-19T19:27:04.335" v="508"/>
          <ac:spMkLst>
            <pc:docMk/>
            <pc:sldMasterMk cId="2478455646" sldId="2147483696"/>
            <ac:spMk id="12" creationId="{00000000-0000-0000-0000-000000000000}"/>
          </ac:spMkLst>
        </pc:spChg>
        <pc:graphicFrameChg chg="add mod ord modVis">
          <ac:chgData name="Rafael Santos" userId="21901fccb52410f7" providerId="LiveId" clId="{07D1A1A8-E6C0-48AB-8795-8499F03CFF61}" dt="2019-12-19T19:21:21.881" v="387" actId="14100"/>
          <ac:graphicFrameMkLst>
            <pc:docMk/>
            <pc:sldMasterMk cId="2478455646" sldId="2147483696"/>
            <ac:graphicFrameMk id="8" creationId="{85092C7A-B0B6-42AC-9D15-25C62CD55148}"/>
          </ac:graphicFrameMkLst>
        </pc:graphicFrameChg>
        <pc:graphicFrameChg chg="add mod ord modVis">
          <ac:chgData name="Rafael Santos" userId="21901fccb52410f7" providerId="LiveId" clId="{07D1A1A8-E6C0-48AB-8795-8499F03CFF61}" dt="2019-12-19T19:27:04.370" v="523"/>
          <ac:graphicFrameMkLst>
            <pc:docMk/>
            <pc:sldMasterMk cId="2478455646" sldId="2147483696"/>
            <ac:graphicFrameMk id="10" creationId="{4EDEFD96-B7EA-4224-8A50-9B0F52A474E1}"/>
          </ac:graphicFrameMkLst>
        </pc:graphicFrame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094911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892468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7114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10608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3279215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528935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69924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68919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06860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486235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8005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EDEFD96-B7EA-4224-8A50-9B0F52A474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853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EDEFD96-B7EA-4224-8A50-9B0F52A47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7D88693-91FC-46E4-BC12-06A0DE8D278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100" b="0" i="0" baseline="0"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E79FC96-1B95-4FDC-92A3-F8047EE07C68}" type="datetimeFigureOut">
              <a:rPr lang="en-CH" smtClean="0"/>
              <a:t>12/19/2019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0C19B91-6A39-4D2F-93B0-5F3B9CC29AA4}" type="slidenum">
              <a:rPr lang="en-CH" smtClean="0"/>
              <a:t>‹#›</a:t>
            </a:fld>
            <a:endParaRPr lang="en-CH"/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455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9A042-118D-452D-9558-D734D60160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sz="6600"/>
              <a:t>Business </a:t>
            </a:r>
            <a:r>
              <a:rPr lang="en-US" sz="6600"/>
              <a:t>Intelligence</a:t>
            </a:r>
            <a:r>
              <a:rPr lang="pt-BR" sz="6600"/>
              <a:t> dashboard</a:t>
            </a:r>
            <a:endParaRPr lang="en-CH" sz="66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DD7A28-844C-46E5-8CEA-ED53162A9B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15045" y="6169446"/>
            <a:ext cx="8045373" cy="552029"/>
          </a:xfrm>
        </p:spPr>
        <p:txBody>
          <a:bodyPr/>
          <a:lstStyle/>
          <a:p>
            <a:r>
              <a:rPr lang="en-GB"/>
              <a:t>Powered by                  .    </a:t>
            </a:r>
            <a:endParaRPr lang="en-CH"/>
          </a:p>
        </p:txBody>
      </p:sp>
      <p:pic>
        <p:nvPicPr>
          <p:cNvPr id="4098" name="Picture 2" descr="https://modulehousing.com/wp-content/uploads/2019/01/logo-bosch-png-1200.png">
            <a:extLst>
              <a:ext uri="{FF2B5EF4-FFF2-40B4-BE49-F238E27FC236}">
                <a16:creationId xmlns:a16="http://schemas.microsoft.com/office/drawing/2014/main" id="{BEF85CDE-060E-4977-BC8A-EEB79D8E5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932" y="5496045"/>
            <a:ext cx="2573215" cy="135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87243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24D83-3C35-4264-9EA1-A2EDA66A1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Need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E9A6F5-48B8-4636-B42D-51757DB7BD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2286001"/>
            <a:ext cx="6015897" cy="3593591"/>
          </a:xfrm>
        </p:spPr>
        <p:txBody>
          <a:bodyPr>
            <a:normAutofit/>
          </a:bodyPr>
          <a:lstStyle/>
          <a:p>
            <a:r>
              <a:rPr lang="en-GB"/>
              <a:t>Stakeholders: Demand Planers Leaders,  Head of Supply</a:t>
            </a:r>
          </a:p>
          <a:p>
            <a:r>
              <a:rPr lang="en-GB"/>
              <a:t>Daily automated update</a:t>
            </a:r>
          </a:p>
          <a:p>
            <a:r>
              <a:rPr lang="en-GB"/>
              <a:t>Clear overview of the inventory (using different KPIs and Hierarchy)</a:t>
            </a:r>
          </a:p>
          <a:p>
            <a:r>
              <a:rPr lang="en-GB"/>
              <a:t>Present history data</a:t>
            </a:r>
          </a:p>
          <a:p>
            <a:r>
              <a:rPr lang="en-GB"/>
              <a:t>Combine old reports to one with Power Bi to get a better visibility and reduce the manpower</a:t>
            </a:r>
          </a:p>
          <a:p>
            <a:endParaRPr lang="en-GB"/>
          </a:p>
          <a:p>
            <a:endParaRPr lang="en-CH"/>
          </a:p>
        </p:txBody>
      </p:sp>
      <p:pic>
        <p:nvPicPr>
          <p:cNvPr id="1026" name="Picture 2" descr="a heap/pile of papers">
            <a:extLst>
              <a:ext uri="{FF2B5EF4-FFF2-40B4-BE49-F238E27FC236}">
                <a16:creationId xmlns:a16="http://schemas.microsoft.com/office/drawing/2014/main" id="{A3F0D951-BD6A-448E-B726-AAD84B0D48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 bwMode="auto">
          <a:xfrm>
            <a:off x="7657970" y="1501255"/>
            <a:ext cx="3860171" cy="3855489"/>
          </a:xfrm>
          <a:custGeom>
            <a:avLst/>
            <a:gdLst>
              <a:gd name="connsiteX0" fmla="*/ 1930086 w 3860171"/>
              <a:gd name="connsiteY0" fmla="*/ 0 h 3855489"/>
              <a:gd name="connsiteX1" fmla="*/ 1967540 w 3860171"/>
              <a:gd name="connsiteY1" fmla="*/ 3511 h 3855489"/>
              <a:gd name="connsiteX2" fmla="*/ 2003824 w 3860171"/>
              <a:gd name="connsiteY2" fmla="*/ 12875 h 3855489"/>
              <a:gd name="connsiteX3" fmla="*/ 2038938 w 3860171"/>
              <a:gd name="connsiteY3" fmla="*/ 26920 h 3855489"/>
              <a:gd name="connsiteX4" fmla="*/ 2075222 w 3860171"/>
              <a:gd name="connsiteY4" fmla="*/ 44477 h 3855489"/>
              <a:gd name="connsiteX5" fmla="*/ 2109166 w 3860171"/>
              <a:gd name="connsiteY5" fmla="*/ 64375 h 3855489"/>
              <a:gd name="connsiteX6" fmla="*/ 2144279 w 3860171"/>
              <a:gd name="connsiteY6" fmla="*/ 85443 h 3855489"/>
              <a:gd name="connsiteX7" fmla="*/ 2179393 w 3860171"/>
              <a:gd name="connsiteY7" fmla="*/ 104171 h 3855489"/>
              <a:gd name="connsiteX8" fmla="*/ 2214507 w 3860171"/>
              <a:gd name="connsiteY8" fmla="*/ 122898 h 3855489"/>
              <a:gd name="connsiteX9" fmla="*/ 2248450 w 3860171"/>
              <a:gd name="connsiteY9" fmla="*/ 136943 h 3855489"/>
              <a:gd name="connsiteX10" fmla="*/ 2285905 w 3860171"/>
              <a:gd name="connsiteY10" fmla="*/ 146307 h 3855489"/>
              <a:gd name="connsiteX11" fmla="*/ 2322189 w 3860171"/>
              <a:gd name="connsiteY11" fmla="*/ 150989 h 3855489"/>
              <a:gd name="connsiteX12" fmla="*/ 2360814 w 3860171"/>
              <a:gd name="connsiteY12" fmla="*/ 150989 h 3855489"/>
              <a:gd name="connsiteX13" fmla="*/ 2400610 w 3860171"/>
              <a:gd name="connsiteY13" fmla="*/ 148648 h 3855489"/>
              <a:gd name="connsiteX14" fmla="*/ 2440405 w 3860171"/>
              <a:gd name="connsiteY14" fmla="*/ 143966 h 3855489"/>
              <a:gd name="connsiteX15" fmla="*/ 2480201 w 3860171"/>
              <a:gd name="connsiteY15" fmla="*/ 138114 h 3855489"/>
              <a:gd name="connsiteX16" fmla="*/ 2519996 w 3860171"/>
              <a:gd name="connsiteY16" fmla="*/ 133432 h 3855489"/>
              <a:gd name="connsiteX17" fmla="*/ 2559792 w 3860171"/>
              <a:gd name="connsiteY17" fmla="*/ 129921 h 3855489"/>
              <a:gd name="connsiteX18" fmla="*/ 2597247 w 3860171"/>
              <a:gd name="connsiteY18" fmla="*/ 131091 h 3855489"/>
              <a:gd name="connsiteX19" fmla="*/ 2633531 w 3860171"/>
              <a:gd name="connsiteY19" fmla="*/ 135773 h 3855489"/>
              <a:gd name="connsiteX20" fmla="*/ 2668644 w 3860171"/>
              <a:gd name="connsiteY20" fmla="*/ 146307 h 3855489"/>
              <a:gd name="connsiteX21" fmla="*/ 2697906 w 3860171"/>
              <a:gd name="connsiteY21" fmla="*/ 161523 h 3855489"/>
              <a:gd name="connsiteX22" fmla="*/ 2725997 w 3860171"/>
              <a:gd name="connsiteY22" fmla="*/ 181421 h 3855489"/>
              <a:gd name="connsiteX23" fmla="*/ 2750577 w 3860171"/>
              <a:gd name="connsiteY23" fmla="*/ 204830 h 3855489"/>
              <a:gd name="connsiteX24" fmla="*/ 2775156 w 3860171"/>
              <a:gd name="connsiteY24" fmla="*/ 231750 h 3855489"/>
              <a:gd name="connsiteX25" fmla="*/ 2797395 w 3860171"/>
              <a:gd name="connsiteY25" fmla="*/ 259841 h 3855489"/>
              <a:gd name="connsiteX26" fmla="*/ 2819634 w 3860171"/>
              <a:gd name="connsiteY26" fmla="*/ 289103 h 3855489"/>
              <a:gd name="connsiteX27" fmla="*/ 2841872 w 3860171"/>
              <a:gd name="connsiteY27" fmla="*/ 318364 h 3855489"/>
              <a:gd name="connsiteX28" fmla="*/ 2864111 w 3860171"/>
              <a:gd name="connsiteY28" fmla="*/ 346455 h 3855489"/>
              <a:gd name="connsiteX29" fmla="*/ 2887520 w 3860171"/>
              <a:gd name="connsiteY29" fmla="*/ 373376 h 3855489"/>
              <a:gd name="connsiteX30" fmla="*/ 2914441 w 3860171"/>
              <a:gd name="connsiteY30" fmla="*/ 396785 h 3855489"/>
              <a:gd name="connsiteX31" fmla="*/ 2940191 w 3860171"/>
              <a:gd name="connsiteY31" fmla="*/ 417853 h 3855489"/>
              <a:gd name="connsiteX32" fmla="*/ 2969452 w 3860171"/>
              <a:gd name="connsiteY32" fmla="*/ 434240 h 3855489"/>
              <a:gd name="connsiteX33" fmla="*/ 3001055 w 3860171"/>
              <a:gd name="connsiteY33" fmla="*/ 448285 h 3855489"/>
              <a:gd name="connsiteX34" fmla="*/ 3034998 w 3860171"/>
              <a:gd name="connsiteY34" fmla="*/ 459990 h 3855489"/>
              <a:gd name="connsiteX35" fmla="*/ 3070112 w 3860171"/>
              <a:gd name="connsiteY35" fmla="*/ 470524 h 3855489"/>
              <a:gd name="connsiteX36" fmla="*/ 3105226 w 3860171"/>
              <a:gd name="connsiteY36" fmla="*/ 479888 h 3855489"/>
              <a:gd name="connsiteX37" fmla="*/ 3141510 w 3860171"/>
              <a:gd name="connsiteY37" fmla="*/ 489251 h 3855489"/>
              <a:gd name="connsiteX38" fmla="*/ 3175453 w 3860171"/>
              <a:gd name="connsiteY38" fmla="*/ 499785 h 3855489"/>
              <a:gd name="connsiteX39" fmla="*/ 3209396 w 3860171"/>
              <a:gd name="connsiteY39" fmla="*/ 511490 h 3855489"/>
              <a:gd name="connsiteX40" fmla="*/ 3240999 w 3860171"/>
              <a:gd name="connsiteY40" fmla="*/ 525535 h 3855489"/>
              <a:gd name="connsiteX41" fmla="*/ 3269090 w 3860171"/>
              <a:gd name="connsiteY41" fmla="*/ 543092 h 3855489"/>
              <a:gd name="connsiteX42" fmla="*/ 3294840 w 3860171"/>
              <a:gd name="connsiteY42" fmla="*/ 564161 h 3855489"/>
              <a:gd name="connsiteX43" fmla="*/ 3315908 w 3860171"/>
              <a:gd name="connsiteY43" fmla="*/ 589911 h 3855489"/>
              <a:gd name="connsiteX44" fmla="*/ 3333465 w 3860171"/>
              <a:gd name="connsiteY44" fmla="*/ 618002 h 3855489"/>
              <a:gd name="connsiteX45" fmla="*/ 3347510 w 3860171"/>
              <a:gd name="connsiteY45" fmla="*/ 649604 h 3855489"/>
              <a:gd name="connsiteX46" fmla="*/ 3359215 w 3860171"/>
              <a:gd name="connsiteY46" fmla="*/ 683547 h 3855489"/>
              <a:gd name="connsiteX47" fmla="*/ 3369749 w 3860171"/>
              <a:gd name="connsiteY47" fmla="*/ 717491 h 3855489"/>
              <a:gd name="connsiteX48" fmla="*/ 3379113 w 3860171"/>
              <a:gd name="connsiteY48" fmla="*/ 753775 h 3855489"/>
              <a:gd name="connsiteX49" fmla="*/ 3388476 w 3860171"/>
              <a:gd name="connsiteY49" fmla="*/ 788889 h 3855489"/>
              <a:gd name="connsiteX50" fmla="*/ 3399010 w 3860171"/>
              <a:gd name="connsiteY50" fmla="*/ 824002 h 3855489"/>
              <a:gd name="connsiteX51" fmla="*/ 3410715 w 3860171"/>
              <a:gd name="connsiteY51" fmla="*/ 857946 h 3855489"/>
              <a:gd name="connsiteX52" fmla="*/ 3424760 w 3860171"/>
              <a:gd name="connsiteY52" fmla="*/ 889548 h 3855489"/>
              <a:gd name="connsiteX53" fmla="*/ 3441147 w 3860171"/>
              <a:gd name="connsiteY53" fmla="*/ 918809 h 3855489"/>
              <a:gd name="connsiteX54" fmla="*/ 3462215 w 3860171"/>
              <a:gd name="connsiteY54" fmla="*/ 944560 h 3855489"/>
              <a:gd name="connsiteX55" fmla="*/ 3485624 w 3860171"/>
              <a:gd name="connsiteY55" fmla="*/ 971480 h 3855489"/>
              <a:gd name="connsiteX56" fmla="*/ 3512545 w 3860171"/>
              <a:gd name="connsiteY56" fmla="*/ 994889 h 3855489"/>
              <a:gd name="connsiteX57" fmla="*/ 3540636 w 3860171"/>
              <a:gd name="connsiteY57" fmla="*/ 1017128 h 3855489"/>
              <a:gd name="connsiteX58" fmla="*/ 3571068 w 3860171"/>
              <a:gd name="connsiteY58" fmla="*/ 1039367 h 3855489"/>
              <a:gd name="connsiteX59" fmla="*/ 3600329 w 3860171"/>
              <a:gd name="connsiteY59" fmla="*/ 1061605 h 3855489"/>
              <a:gd name="connsiteX60" fmla="*/ 3628420 w 3860171"/>
              <a:gd name="connsiteY60" fmla="*/ 1083844 h 3855489"/>
              <a:gd name="connsiteX61" fmla="*/ 3655341 w 3860171"/>
              <a:gd name="connsiteY61" fmla="*/ 1108424 h 3855489"/>
              <a:gd name="connsiteX62" fmla="*/ 3678750 w 3860171"/>
              <a:gd name="connsiteY62" fmla="*/ 1133003 h 3855489"/>
              <a:gd name="connsiteX63" fmla="*/ 3698648 w 3860171"/>
              <a:gd name="connsiteY63" fmla="*/ 1161094 h 3855489"/>
              <a:gd name="connsiteX64" fmla="*/ 3713864 w 3860171"/>
              <a:gd name="connsiteY64" fmla="*/ 1190356 h 3855489"/>
              <a:gd name="connsiteX65" fmla="*/ 3724398 w 3860171"/>
              <a:gd name="connsiteY65" fmla="*/ 1225469 h 3855489"/>
              <a:gd name="connsiteX66" fmla="*/ 3729080 w 3860171"/>
              <a:gd name="connsiteY66" fmla="*/ 1261754 h 3855489"/>
              <a:gd name="connsiteX67" fmla="*/ 3730250 w 3860171"/>
              <a:gd name="connsiteY67" fmla="*/ 1299208 h 3855489"/>
              <a:gd name="connsiteX68" fmla="*/ 3726739 w 3860171"/>
              <a:gd name="connsiteY68" fmla="*/ 1339004 h 3855489"/>
              <a:gd name="connsiteX69" fmla="*/ 3722057 w 3860171"/>
              <a:gd name="connsiteY69" fmla="*/ 1378799 h 3855489"/>
              <a:gd name="connsiteX70" fmla="*/ 3716205 w 3860171"/>
              <a:gd name="connsiteY70" fmla="*/ 1418595 h 3855489"/>
              <a:gd name="connsiteX71" fmla="*/ 3711523 w 3860171"/>
              <a:gd name="connsiteY71" fmla="*/ 1458391 h 3855489"/>
              <a:gd name="connsiteX72" fmla="*/ 3709182 w 3860171"/>
              <a:gd name="connsiteY72" fmla="*/ 1498186 h 3855489"/>
              <a:gd name="connsiteX73" fmla="*/ 3709182 w 3860171"/>
              <a:gd name="connsiteY73" fmla="*/ 1536811 h 3855489"/>
              <a:gd name="connsiteX74" fmla="*/ 3713864 w 3860171"/>
              <a:gd name="connsiteY74" fmla="*/ 1573096 h 3855489"/>
              <a:gd name="connsiteX75" fmla="*/ 3723228 w 3860171"/>
              <a:gd name="connsiteY75" fmla="*/ 1609380 h 3855489"/>
              <a:gd name="connsiteX76" fmla="*/ 3737273 w 3860171"/>
              <a:gd name="connsiteY76" fmla="*/ 1643323 h 3855489"/>
              <a:gd name="connsiteX77" fmla="*/ 3756000 w 3860171"/>
              <a:gd name="connsiteY77" fmla="*/ 1678437 h 3855489"/>
              <a:gd name="connsiteX78" fmla="*/ 3774728 w 3860171"/>
              <a:gd name="connsiteY78" fmla="*/ 1713550 h 3855489"/>
              <a:gd name="connsiteX79" fmla="*/ 3795796 w 3860171"/>
              <a:gd name="connsiteY79" fmla="*/ 1748664 h 3855489"/>
              <a:gd name="connsiteX80" fmla="*/ 3815694 w 3860171"/>
              <a:gd name="connsiteY80" fmla="*/ 1782608 h 3855489"/>
              <a:gd name="connsiteX81" fmla="*/ 3833250 w 3860171"/>
              <a:gd name="connsiteY81" fmla="*/ 1818892 h 3855489"/>
              <a:gd name="connsiteX82" fmla="*/ 3847296 w 3860171"/>
              <a:gd name="connsiteY82" fmla="*/ 1854005 h 3855489"/>
              <a:gd name="connsiteX83" fmla="*/ 3856660 w 3860171"/>
              <a:gd name="connsiteY83" fmla="*/ 1890290 h 3855489"/>
              <a:gd name="connsiteX84" fmla="*/ 3860171 w 3860171"/>
              <a:gd name="connsiteY84" fmla="*/ 1927744 h 3855489"/>
              <a:gd name="connsiteX85" fmla="*/ 3856660 w 3860171"/>
              <a:gd name="connsiteY85" fmla="*/ 1965199 h 3855489"/>
              <a:gd name="connsiteX86" fmla="*/ 3847296 w 3860171"/>
              <a:gd name="connsiteY86" fmla="*/ 2001483 h 3855489"/>
              <a:gd name="connsiteX87" fmla="*/ 3833250 w 3860171"/>
              <a:gd name="connsiteY87" fmla="*/ 2036597 h 3855489"/>
              <a:gd name="connsiteX88" fmla="*/ 3815694 w 3860171"/>
              <a:gd name="connsiteY88" fmla="*/ 2072881 h 3855489"/>
              <a:gd name="connsiteX89" fmla="*/ 3795796 w 3860171"/>
              <a:gd name="connsiteY89" fmla="*/ 2106824 h 3855489"/>
              <a:gd name="connsiteX90" fmla="*/ 3774728 w 3860171"/>
              <a:gd name="connsiteY90" fmla="*/ 2141938 h 3855489"/>
              <a:gd name="connsiteX91" fmla="*/ 3756000 w 3860171"/>
              <a:gd name="connsiteY91" fmla="*/ 2177052 h 3855489"/>
              <a:gd name="connsiteX92" fmla="*/ 3737273 w 3860171"/>
              <a:gd name="connsiteY92" fmla="*/ 2212166 h 3855489"/>
              <a:gd name="connsiteX93" fmla="*/ 3723228 w 3860171"/>
              <a:gd name="connsiteY93" fmla="*/ 2246109 h 3855489"/>
              <a:gd name="connsiteX94" fmla="*/ 3713864 w 3860171"/>
              <a:gd name="connsiteY94" fmla="*/ 2282393 h 3855489"/>
              <a:gd name="connsiteX95" fmla="*/ 3709182 w 3860171"/>
              <a:gd name="connsiteY95" fmla="*/ 2318677 h 3855489"/>
              <a:gd name="connsiteX96" fmla="*/ 3709182 w 3860171"/>
              <a:gd name="connsiteY96" fmla="*/ 2357302 h 3855489"/>
              <a:gd name="connsiteX97" fmla="*/ 3711523 w 3860171"/>
              <a:gd name="connsiteY97" fmla="*/ 2397098 h 3855489"/>
              <a:gd name="connsiteX98" fmla="*/ 3716205 w 3860171"/>
              <a:gd name="connsiteY98" fmla="*/ 2436894 h 3855489"/>
              <a:gd name="connsiteX99" fmla="*/ 3722057 w 3860171"/>
              <a:gd name="connsiteY99" fmla="*/ 2476689 h 3855489"/>
              <a:gd name="connsiteX100" fmla="*/ 3726739 w 3860171"/>
              <a:gd name="connsiteY100" fmla="*/ 2516485 h 3855489"/>
              <a:gd name="connsiteX101" fmla="*/ 3730250 w 3860171"/>
              <a:gd name="connsiteY101" fmla="*/ 2556280 h 3855489"/>
              <a:gd name="connsiteX102" fmla="*/ 3729080 w 3860171"/>
              <a:gd name="connsiteY102" fmla="*/ 2593735 h 3855489"/>
              <a:gd name="connsiteX103" fmla="*/ 3724398 w 3860171"/>
              <a:gd name="connsiteY103" fmla="*/ 2630019 h 3855489"/>
              <a:gd name="connsiteX104" fmla="*/ 3713864 w 3860171"/>
              <a:gd name="connsiteY104" fmla="*/ 2665133 h 3855489"/>
              <a:gd name="connsiteX105" fmla="*/ 3698648 w 3860171"/>
              <a:gd name="connsiteY105" fmla="*/ 2694394 h 3855489"/>
              <a:gd name="connsiteX106" fmla="*/ 3678750 w 3860171"/>
              <a:gd name="connsiteY106" fmla="*/ 2722485 h 3855489"/>
              <a:gd name="connsiteX107" fmla="*/ 3655341 w 3860171"/>
              <a:gd name="connsiteY107" fmla="*/ 2747065 h 3855489"/>
              <a:gd name="connsiteX108" fmla="*/ 3628420 w 3860171"/>
              <a:gd name="connsiteY108" fmla="*/ 2771645 h 3855489"/>
              <a:gd name="connsiteX109" fmla="*/ 3600329 w 3860171"/>
              <a:gd name="connsiteY109" fmla="*/ 2793883 h 3855489"/>
              <a:gd name="connsiteX110" fmla="*/ 3571068 w 3860171"/>
              <a:gd name="connsiteY110" fmla="*/ 2816122 h 3855489"/>
              <a:gd name="connsiteX111" fmla="*/ 3540636 w 3860171"/>
              <a:gd name="connsiteY111" fmla="*/ 2838361 h 3855489"/>
              <a:gd name="connsiteX112" fmla="*/ 3512545 w 3860171"/>
              <a:gd name="connsiteY112" fmla="*/ 2860599 h 3855489"/>
              <a:gd name="connsiteX113" fmla="*/ 3485624 w 3860171"/>
              <a:gd name="connsiteY113" fmla="*/ 2884009 h 3855489"/>
              <a:gd name="connsiteX114" fmla="*/ 3462215 w 3860171"/>
              <a:gd name="connsiteY114" fmla="*/ 2910929 h 3855489"/>
              <a:gd name="connsiteX115" fmla="*/ 3441147 w 3860171"/>
              <a:gd name="connsiteY115" fmla="*/ 2936679 h 3855489"/>
              <a:gd name="connsiteX116" fmla="*/ 3424760 w 3860171"/>
              <a:gd name="connsiteY116" fmla="*/ 2965941 h 3855489"/>
              <a:gd name="connsiteX117" fmla="*/ 3410715 w 3860171"/>
              <a:gd name="connsiteY117" fmla="*/ 2997543 h 3855489"/>
              <a:gd name="connsiteX118" fmla="*/ 3399010 w 3860171"/>
              <a:gd name="connsiteY118" fmla="*/ 3031486 h 3855489"/>
              <a:gd name="connsiteX119" fmla="*/ 3388476 w 3860171"/>
              <a:gd name="connsiteY119" fmla="*/ 3066600 h 3855489"/>
              <a:gd name="connsiteX120" fmla="*/ 3379113 w 3860171"/>
              <a:gd name="connsiteY120" fmla="*/ 3101714 h 3855489"/>
              <a:gd name="connsiteX121" fmla="*/ 3369749 w 3860171"/>
              <a:gd name="connsiteY121" fmla="*/ 3137998 h 3855489"/>
              <a:gd name="connsiteX122" fmla="*/ 3359215 w 3860171"/>
              <a:gd name="connsiteY122" fmla="*/ 3171941 h 3855489"/>
              <a:gd name="connsiteX123" fmla="*/ 3347510 w 3860171"/>
              <a:gd name="connsiteY123" fmla="*/ 3205885 h 3855489"/>
              <a:gd name="connsiteX124" fmla="*/ 3333465 w 3860171"/>
              <a:gd name="connsiteY124" fmla="*/ 3237487 h 3855489"/>
              <a:gd name="connsiteX125" fmla="*/ 3315908 w 3860171"/>
              <a:gd name="connsiteY125" fmla="*/ 3265578 h 3855489"/>
              <a:gd name="connsiteX126" fmla="*/ 3294840 w 3860171"/>
              <a:gd name="connsiteY126" fmla="*/ 3291328 h 3855489"/>
              <a:gd name="connsiteX127" fmla="*/ 3269090 w 3860171"/>
              <a:gd name="connsiteY127" fmla="*/ 3312396 h 3855489"/>
              <a:gd name="connsiteX128" fmla="*/ 3240999 w 3860171"/>
              <a:gd name="connsiteY128" fmla="*/ 3329953 h 3855489"/>
              <a:gd name="connsiteX129" fmla="*/ 3209396 w 3860171"/>
              <a:gd name="connsiteY129" fmla="*/ 3343999 h 3855489"/>
              <a:gd name="connsiteX130" fmla="*/ 3175453 w 3860171"/>
              <a:gd name="connsiteY130" fmla="*/ 3355703 h 3855489"/>
              <a:gd name="connsiteX131" fmla="*/ 3141510 w 3860171"/>
              <a:gd name="connsiteY131" fmla="*/ 3366237 h 3855489"/>
              <a:gd name="connsiteX132" fmla="*/ 3105226 w 3860171"/>
              <a:gd name="connsiteY132" fmla="*/ 3375601 h 3855489"/>
              <a:gd name="connsiteX133" fmla="*/ 3070112 w 3860171"/>
              <a:gd name="connsiteY133" fmla="*/ 3384965 h 3855489"/>
              <a:gd name="connsiteX134" fmla="*/ 3034998 w 3860171"/>
              <a:gd name="connsiteY134" fmla="*/ 3395499 h 3855489"/>
              <a:gd name="connsiteX135" fmla="*/ 3001055 w 3860171"/>
              <a:gd name="connsiteY135" fmla="*/ 3407203 h 3855489"/>
              <a:gd name="connsiteX136" fmla="*/ 2969452 w 3860171"/>
              <a:gd name="connsiteY136" fmla="*/ 3421249 h 3855489"/>
              <a:gd name="connsiteX137" fmla="*/ 2940191 w 3860171"/>
              <a:gd name="connsiteY137" fmla="*/ 3437635 h 3855489"/>
              <a:gd name="connsiteX138" fmla="*/ 2914441 w 3860171"/>
              <a:gd name="connsiteY138" fmla="*/ 3458704 h 3855489"/>
              <a:gd name="connsiteX139" fmla="*/ 2887520 w 3860171"/>
              <a:gd name="connsiteY139" fmla="*/ 3482113 h 3855489"/>
              <a:gd name="connsiteX140" fmla="*/ 2864111 w 3860171"/>
              <a:gd name="connsiteY140" fmla="*/ 3509033 h 3855489"/>
              <a:gd name="connsiteX141" fmla="*/ 2841872 w 3860171"/>
              <a:gd name="connsiteY141" fmla="*/ 3537124 h 3855489"/>
              <a:gd name="connsiteX142" fmla="*/ 2819634 w 3860171"/>
              <a:gd name="connsiteY142" fmla="*/ 3566386 h 3855489"/>
              <a:gd name="connsiteX143" fmla="*/ 2797395 w 3860171"/>
              <a:gd name="connsiteY143" fmla="*/ 3595647 h 3855489"/>
              <a:gd name="connsiteX144" fmla="*/ 2775156 w 3860171"/>
              <a:gd name="connsiteY144" fmla="*/ 3623738 h 3855489"/>
              <a:gd name="connsiteX145" fmla="*/ 2750577 w 3860171"/>
              <a:gd name="connsiteY145" fmla="*/ 3650659 h 3855489"/>
              <a:gd name="connsiteX146" fmla="*/ 2725997 w 3860171"/>
              <a:gd name="connsiteY146" fmla="*/ 3674068 h 3855489"/>
              <a:gd name="connsiteX147" fmla="*/ 2697906 w 3860171"/>
              <a:gd name="connsiteY147" fmla="*/ 3693966 h 3855489"/>
              <a:gd name="connsiteX148" fmla="*/ 2668644 w 3860171"/>
              <a:gd name="connsiteY148" fmla="*/ 3709182 h 3855489"/>
              <a:gd name="connsiteX149" fmla="*/ 2633531 w 3860171"/>
              <a:gd name="connsiteY149" fmla="*/ 3719716 h 3855489"/>
              <a:gd name="connsiteX150" fmla="*/ 2597247 w 3860171"/>
              <a:gd name="connsiteY150" fmla="*/ 3724398 h 3855489"/>
              <a:gd name="connsiteX151" fmla="*/ 2559792 w 3860171"/>
              <a:gd name="connsiteY151" fmla="*/ 3725568 h 3855489"/>
              <a:gd name="connsiteX152" fmla="*/ 2519996 w 3860171"/>
              <a:gd name="connsiteY152" fmla="*/ 3722057 h 3855489"/>
              <a:gd name="connsiteX153" fmla="*/ 2480201 w 3860171"/>
              <a:gd name="connsiteY153" fmla="*/ 3717375 h 3855489"/>
              <a:gd name="connsiteX154" fmla="*/ 2440405 w 3860171"/>
              <a:gd name="connsiteY154" fmla="*/ 3711523 h 3855489"/>
              <a:gd name="connsiteX155" fmla="*/ 2400610 w 3860171"/>
              <a:gd name="connsiteY155" fmla="*/ 3706841 h 3855489"/>
              <a:gd name="connsiteX156" fmla="*/ 2360814 w 3860171"/>
              <a:gd name="connsiteY156" fmla="*/ 3704500 h 3855489"/>
              <a:gd name="connsiteX157" fmla="*/ 2322189 w 3860171"/>
              <a:gd name="connsiteY157" fmla="*/ 3704500 h 3855489"/>
              <a:gd name="connsiteX158" fmla="*/ 2285905 w 3860171"/>
              <a:gd name="connsiteY158" fmla="*/ 3709182 h 3855489"/>
              <a:gd name="connsiteX159" fmla="*/ 2248450 w 3860171"/>
              <a:gd name="connsiteY159" fmla="*/ 3718545 h 3855489"/>
              <a:gd name="connsiteX160" fmla="*/ 2214507 w 3860171"/>
              <a:gd name="connsiteY160" fmla="*/ 3732591 h 3855489"/>
              <a:gd name="connsiteX161" fmla="*/ 2179393 w 3860171"/>
              <a:gd name="connsiteY161" fmla="*/ 3751318 h 3855489"/>
              <a:gd name="connsiteX162" fmla="*/ 2144279 w 3860171"/>
              <a:gd name="connsiteY162" fmla="*/ 3770045 h 3855489"/>
              <a:gd name="connsiteX163" fmla="*/ 2109166 w 3860171"/>
              <a:gd name="connsiteY163" fmla="*/ 3791114 h 3855489"/>
              <a:gd name="connsiteX164" fmla="*/ 2075222 w 3860171"/>
              <a:gd name="connsiteY164" fmla="*/ 3811011 h 3855489"/>
              <a:gd name="connsiteX165" fmla="*/ 2038938 w 3860171"/>
              <a:gd name="connsiteY165" fmla="*/ 3828568 h 3855489"/>
              <a:gd name="connsiteX166" fmla="*/ 2003824 w 3860171"/>
              <a:gd name="connsiteY166" fmla="*/ 3842614 h 3855489"/>
              <a:gd name="connsiteX167" fmla="*/ 1967540 w 3860171"/>
              <a:gd name="connsiteY167" fmla="*/ 3851978 h 3855489"/>
              <a:gd name="connsiteX168" fmla="*/ 1930086 w 3860171"/>
              <a:gd name="connsiteY168" fmla="*/ 3855489 h 3855489"/>
              <a:gd name="connsiteX169" fmla="*/ 1892631 w 3860171"/>
              <a:gd name="connsiteY169" fmla="*/ 3851978 h 3855489"/>
              <a:gd name="connsiteX170" fmla="*/ 1856347 w 3860171"/>
              <a:gd name="connsiteY170" fmla="*/ 3842614 h 3855489"/>
              <a:gd name="connsiteX171" fmla="*/ 1821233 w 3860171"/>
              <a:gd name="connsiteY171" fmla="*/ 3828568 h 3855489"/>
              <a:gd name="connsiteX172" fmla="*/ 1784949 w 3860171"/>
              <a:gd name="connsiteY172" fmla="*/ 3811011 h 3855489"/>
              <a:gd name="connsiteX173" fmla="*/ 1751005 w 3860171"/>
              <a:gd name="connsiteY173" fmla="*/ 3791114 h 3855489"/>
              <a:gd name="connsiteX174" fmla="*/ 1715892 w 3860171"/>
              <a:gd name="connsiteY174" fmla="*/ 3770045 h 3855489"/>
              <a:gd name="connsiteX175" fmla="*/ 1680778 w 3860171"/>
              <a:gd name="connsiteY175" fmla="*/ 3751318 h 3855489"/>
              <a:gd name="connsiteX176" fmla="*/ 1645664 w 3860171"/>
              <a:gd name="connsiteY176" fmla="*/ 3732591 h 3855489"/>
              <a:gd name="connsiteX177" fmla="*/ 1610550 w 3860171"/>
              <a:gd name="connsiteY177" fmla="*/ 3718545 h 3855489"/>
              <a:gd name="connsiteX178" fmla="*/ 1574266 w 3860171"/>
              <a:gd name="connsiteY178" fmla="*/ 3709182 h 3855489"/>
              <a:gd name="connsiteX179" fmla="*/ 1537982 w 3860171"/>
              <a:gd name="connsiteY179" fmla="*/ 3704500 h 3855489"/>
              <a:gd name="connsiteX180" fmla="*/ 1499357 w 3860171"/>
              <a:gd name="connsiteY180" fmla="*/ 3704500 h 3855489"/>
              <a:gd name="connsiteX181" fmla="*/ 1459561 w 3860171"/>
              <a:gd name="connsiteY181" fmla="*/ 3706841 h 3855489"/>
              <a:gd name="connsiteX182" fmla="*/ 1419766 w 3860171"/>
              <a:gd name="connsiteY182" fmla="*/ 3711523 h 3855489"/>
              <a:gd name="connsiteX183" fmla="*/ 1379970 w 3860171"/>
              <a:gd name="connsiteY183" fmla="*/ 3717375 h 3855489"/>
              <a:gd name="connsiteX184" fmla="*/ 1340175 w 3860171"/>
              <a:gd name="connsiteY184" fmla="*/ 3722057 h 3855489"/>
              <a:gd name="connsiteX185" fmla="*/ 1300379 w 3860171"/>
              <a:gd name="connsiteY185" fmla="*/ 3725568 h 3855489"/>
              <a:gd name="connsiteX186" fmla="*/ 1262924 w 3860171"/>
              <a:gd name="connsiteY186" fmla="*/ 3724398 h 3855489"/>
              <a:gd name="connsiteX187" fmla="*/ 1226640 w 3860171"/>
              <a:gd name="connsiteY187" fmla="*/ 3719716 h 3855489"/>
              <a:gd name="connsiteX188" fmla="*/ 1191526 w 3860171"/>
              <a:gd name="connsiteY188" fmla="*/ 3709182 h 3855489"/>
              <a:gd name="connsiteX189" fmla="*/ 1162265 w 3860171"/>
              <a:gd name="connsiteY189" fmla="*/ 3693966 h 3855489"/>
              <a:gd name="connsiteX190" fmla="*/ 1134174 w 3860171"/>
              <a:gd name="connsiteY190" fmla="*/ 3674068 h 3855489"/>
              <a:gd name="connsiteX191" fmla="*/ 1109594 w 3860171"/>
              <a:gd name="connsiteY191" fmla="*/ 3650659 h 3855489"/>
              <a:gd name="connsiteX192" fmla="*/ 1085015 w 3860171"/>
              <a:gd name="connsiteY192" fmla="*/ 3623738 h 3855489"/>
              <a:gd name="connsiteX193" fmla="*/ 1062776 w 3860171"/>
              <a:gd name="connsiteY193" fmla="*/ 3595647 h 3855489"/>
              <a:gd name="connsiteX194" fmla="*/ 1040537 w 3860171"/>
              <a:gd name="connsiteY194" fmla="*/ 3566386 h 3855489"/>
              <a:gd name="connsiteX195" fmla="*/ 1018299 w 3860171"/>
              <a:gd name="connsiteY195" fmla="*/ 3537124 h 3855489"/>
              <a:gd name="connsiteX196" fmla="*/ 996060 w 3860171"/>
              <a:gd name="connsiteY196" fmla="*/ 3509033 h 3855489"/>
              <a:gd name="connsiteX197" fmla="*/ 972651 w 3860171"/>
              <a:gd name="connsiteY197" fmla="*/ 3482113 h 3855489"/>
              <a:gd name="connsiteX198" fmla="*/ 945730 w 3860171"/>
              <a:gd name="connsiteY198" fmla="*/ 3458704 h 3855489"/>
              <a:gd name="connsiteX199" fmla="*/ 919980 w 3860171"/>
              <a:gd name="connsiteY199" fmla="*/ 3437635 h 3855489"/>
              <a:gd name="connsiteX200" fmla="*/ 890719 w 3860171"/>
              <a:gd name="connsiteY200" fmla="*/ 3421249 h 3855489"/>
              <a:gd name="connsiteX201" fmla="*/ 859116 w 3860171"/>
              <a:gd name="connsiteY201" fmla="*/ 3407203 h 3855489"/>
              <a:gd name="connsiteX202" fmla="*/ 825173 w 3860171"/>
              <a:gd name="connsiteY202" fmla="*/ 3395499 h 3855489"/>
              <a:gd name="connsiteX203" fmla="*/ 790059 w 3860171"/>
              <a:gd name="connsiteY203" fmla="*/ 3384965 h 3855489"/>
              <a:gd name="connsiteX204" fmla="*/ 754946 w 3860171"/>
              <a:gd name="connsiteY204" fmla="*/ 3375601 h 3855489"/>
              <a:gd name="connsiteX205" fmla="*/ 718662 w 3860171"/>
              <a:gd name="connsiteY205" fmla="*/ 3366237 h 3855489"/>
              <a:gd name="connsiteX206" fmla="*/ 684718 w 3860171"/>
              <a:gd name="connsiteY206" fmla="*/ 3355703 h 3855489"/>
              <a:gd name="connsiteX207" fmla="*/ 650775 w 3860171"/>
              <a:gd name="connsiteY207" fmla="*/ 3343999 h 3855489"/>
              <a:gd name="connsiteX208" fmla="*/ 619173 w 3860171"/>
              <a:gd name="connsiteY208" fmla="*/ 3329953 h 3855489"/>
              <a:gd name="connsiteX209" fmla="*/ 591082 w 3860171"/>
              <a:gd name="connsiteY209" fmla="*/ 3312396 h 3855489"/>
              <a:gd name="connsiteX210" fmla="*/ 565332 w 3860171"/>
              <a:gd name="connsiteY210" fmla="*/ 3291328 h 3855489"/>
              <a:gd name="connsiteX211" fmla="*/ 544263 w 3860171"/>
              <a:gd name="connsiteY211" fmla="*/ 3265578 h 3855489"/>
              <a:gd name="connsiteX212" fmla="*/ 526706 w 3860171"/>
              <a:gd name="connsiteY212" fmla="*/ 3237487 h 3855489"/>
              <a:gd name="connsiteX213" fmla="*/ 512661 w 3860171"/>
              <a:gd name="connsiteY213" fmla="*/ 3205885 h 3855489"/>
              <a:gd name="connsiteX214" fmla="*/ 500956 w 3860171"/>
              <a:gd name="connsiteY214" fmla="*/ 3171941 h 3855489"/>
              <a:gd name="connsiteX215" fmla="*/ 490422 w 3860171"/>
              <a:gd name="connsiteY215" fmla="*/ 3137998 h 3855489"/>
              <a:gd name="connsiteX216" fmla="*/ 481059 w 3860171"/>
              <a:gd name="connsiteY216" fmla="*/ 3101714 h 3855489"/>
              <a:gd name="connsiteX217" fmla="*/ 471695 w 3860171"/>
              <a:gd name="connsiteY217" fmla="*/ 3066600 h 3855489"/>
              <a:gd name="connsiteX218" fmla="*/ 461161 w 3860171"/>
              <a:gd name="connsiteY218" fmla="*/ 3031486 h 3855489"/>
              <a:gd name="connsiteX219" fmla="*/ 449456 w 3860171"/>
              <a:gd name="connsiteY219" fmla="*/ 2997543 h 3855489"/>
              <a:gd name="connsiteX220" fmla="*/ 435411 w 3860171"/>
              <a:gd name="connsiteY220" fmla="*/ 2965941 h 3855489"/>
              <a:gd name="connsiteX221" fmla="*/ 419024 w 3860171"/>
              <a:gd name="connsiteY221" fmla="*/ 2936679 h 3855489"/>
              <a:gd name="connsiteX222" fmla="*/ 397956 w 3860171"/>
              <a:gd name="connsiteY222" fmla="*/ 2910929 h 3855489"/>
              <a:gd name="connsiteX223" fmla="*/ 374547 w 3860171"/>
              <a:gd name="connsiteY223" fmla="*/ 2884009 h 3855489"/>
              <a:gd name="connsiteX224" fmla="*/ 347626 w 3860171"/>
              <a:gd name="connsiteY224" fmla="*/ 2860599 h 3855489"/>
              <a:gd name="connsiteX225" fmla="*/ 318365 w 3860171"/>
              <a:gd name="connsiteY225" fmla="*/ 2838361 h 3855489"/>
              <a:gd name="connsiteX226" fmla="*/ 289103 w 3860171"/>
              <a:gd name="connsiteY226" fmla="*/ 2816122 h 3855489"/>
              <a:gd name="connsiteX227" fmla="*/ 259842 w 3860171"/>
              <a:gd name="connsiteY227" fmla="*/ 2793883 h 3855489"/>
              <a:gd name="connsiteX228" fmla="*/ 231751 w 3860171"/>
              <a:gd name="connsiteY228" fmla="*/ 2771645 h 3855489"/>
              <a:gd name="connsiteX229" fmla="*/ 204830 w 3860171"/>
              <a:gd name="connsiteY229" fmla="*/ 2747065 h 3855489"/>
              <a:gd name="connsiteX230" fmla="*/ 181421 w 3860171"/>
              <a:gd name="connsiteY230" fmla="*/ 2722485 h 3855489"/>
              <a:gd name="connsiteX231" fmla="*/ 161523 w 3860171"/>
              <a:gd name="connsiteY231" fmla="*/ 2694394 h 3855489"/>
              <a:gd name="connsiteX232" fmla="*/ 146308 w 3860171"/>
              <a:gd name="connsiteY232" fmla="*/ 2665133 h 3855489"/>
              <a:gd name="connsiteX233" fmla="*/ 135773 w 3860171"/>
              <a:gd name="connsiteY233" fmla="*/ 2630019 h 3855489"/>
              <a:gd name="connsiteX234" fmla="*/ 131092 w 3860171"/>
              <a:gd name="connsiteY234" fmla="*/ 2593735 h 3855489"/>
              <a:gd name="connsiteX235" fmla="*/ 129921 w 3860171"/>
              <a:gd name="connsiteY235" fmla="*/ 2556280 h 3855489"/>
              <a:gd name="connsiteX236" fmla="*/ 133432 w 3860171"/>
              <a:gd name="connsiteY236" fmla="*/ 2516485 h 3855489"/>
              <a:gd name="connsiteX237" fmla="*/ 138114 w 3860171"/>
              <a:gd name="connsiteY237" fmla="*/ 2476689 h 3855489"/>
              <a:gd name="connsiteX238" fmla="*/ 143967 w 3860171"/>
              <a:gd name="connsiteY238" fmla="*/ 2436894 h 3855489"/>
              <a:gd name="connsiteX239" fmla="*/ 148648 w 3860171"/>
              <a:gd name="connsiteY239" fmla="*/ 2397098 h 3855489"/>
              <a:gd name="connsiteX240" fmla="*/ 150989 w 3860171"/>
              <a:gd name="connsiteY240" fmla="*/ 2357302 h 3855489"/>
              <a:gd name="connsiteX241" fmla="*/ 150989 w 3860171"/>
              <a:gd name="connsiteY241" fmla="*/ 2318677 h 3855489"/>
              <a:gd name="connsiteX242" fmla="*/ 146308 w 3860171"/>
              <a:gd name="connsiteY242" fmla="*/ 2282393 h 3855489"/>
              <a:gd name="connsiteX243" fmla="*/ 136944 w 3860171"/>
              <a:gd name="connsiteY243" fmla="*/ 2246109 h 3855489"/>
              <a:gd name="connsiteX244" fmla="*/ 122898 w 3860171"/>
              <a:gd name="connsiteY244" fmla="*/ 2212166 h 3855489"/>
              <a:gd name="connsiteX245" fmla="*/ 105341 w 3860171"/>
              <a:gd name="connsiteY245" fmla="*/ 2177052 h 3855489"/>
              <a:gd name="connsiteX246" fmla="*/ 85444 w 3860171"/>
              <a:gd name="connsiteY246" fmla="*/ 2141938 h 3855489"/>
              <a:gd name="connsiteX247" fmla="*/ 64375 w 3860171"/>
              <a:gd name="connsiteY247" fmla="*/ 2106824 h 3855489"/>
              <a:gd name="connsiteX248" fmla="*/ 44478 w 3860171"/>
              <a:gd name="connsiteY248" fmla="*/ 2072881 h 3855489"/>
              <a:gd name="connsiteX249" fmla="*/ 26921 w 3860171"/>
              <a:gd name="connsiteY249" fmla="*/ 2036597 h 3855489"/>
              <a:gd name="connsiteX250" fmla="*/ 12875 w 3860171"/>
              <a:gd name="connsiteY250" fmla="*/ 2001483 h 3855489"/>
              <a:gd name="connsiteX251" fmla="*/ 3512 w 3860171"/>
              <a:gd name="connsiteY251" fmla="*/ 1965199 h 3855489"/>
              <a:gd name="connsiteX252" fmla="*/ 0 w 3860171"/>
              <a:gd name="connsiteY252" fmla="*/ 1927744 h 3855489"/>
              <a:gd name="connsiteX253" fmla="*/ 3512 w 3860171"/>
              <a:gd name="connsiteY253" fmla="*/ 1890290 h 3855489"/>
              <a:gd name="connsiteX254" fmla="*/ 12875 w 3860171"/>
              <a:gd name="connsiteY254" fmla="*/ 1854005 h 3855489"/>
              <a:gd name="connsiteX255" fmla="*/ 26921 w 3860171"/>
              <a:gd name="connsiteY255" fmla="*/ 1818892 h 3855489"/>
              <a:gd name="connsiteX256" fmla="*/ 44478 w 3860171"/>
              <a:gd name="connsiteY256" fmla="*/ 1782608 h 3855489"/>
              <a:gd name="connsiteX257" fmla="*/ 64375 w 3860171"/>
              <a:gd name="connsiteY257" fmla="*/ 1748664 h 3855489"/>
              <a:gd name="connsiteX258" fmla="*/ 85444 w 3860171"/>
              <a:gd name="connsiteY258" fmla="*/ 1713550 h 3855489"/>
              <a:gd name="connsiteX259" fmla="*/ 105341 w 3860171"/>
              <a:gd name="connsiteY259" fmla="*/ 1678437 h 3855489"/>
              <a:gd name="connsiteX260" fmla="*/ 122898 w 3860171"/>
              <a:gd name="connsiteY260" fmla="*/ 1643323 h 3855489"/>
              <a:gd name="connsiteX261" fmla="*/ 136944 w 3860171"/>
              <a:gd name="connsiteY261" fmla="*/ 1609380 h 3855489"/>
              <a:gd name="connsiteX262" fmla="*/ 146308 w 3860171"/>
              <a:gd name="connsiteY262" fmla="*/ 1573096 h 3855489"/>
              <a:gd name="connsiteX263" fmla="*/ 150989 w 3860171"/>
              <a:gd name="connsiteY263" fmla="*/ 1536811 h 3855489"/>
              <a:gd name="connsiteX264" fmla="*/ 150989 w 3860171"/>
              <a:gd name="connsiteY264" fmla="*/ 1498186 h 3855489"/>
              <a:gd name="connsiteX265" fmla="*/ 148648 w 3860171"/>
              <a:gd name="connsiteY265" fmla="*/ 1458391 h 3855489"/>
              <a:gd name="connsiteX266" fmla="*/ 143967 w 3860171"/>
              <a:gd name="connsiteY266" fmla="*/ 1418595 h 3855489"/>
              <a:gd name="connsiteX267" fmla="*/ 138114 w 3860171"/>
              <a:gd name="connsiteY267" fmla="*/ 1378799 h 3855489"/>
              <a:gd name="connsiteX268" fmla="*/ 133432 w 3860171"/>
              <a:gd name="connsiteY268" fmla="*/ 1339004 h 3855489"/>
              <a:gd name="connsiteX269" fmla="*/ 129921 w 3860171"/>
              <a:gd name="connsiteY269" fmla="*/ 1299208 h 3855489"/>
              <a:gd name="connsiteX270" fmla="*/ 131092 w 3860171"/>
              <a:gd name="connsiteY270" fmla="*/ 1261754 h 3855489"/>
              <a:gd name="connsiteX271" fmla="*/ 135773 w 3860171"/>
              <a:gd name="connsiteY271" fmla="*/ 1225469 h 3855489"/>
              <a:gd name="connsiteX272" fmla="*/ 146308 w 3860171"/>
              <a:gd name="connsiteY272" fmla="*/ 1190356 h 3855489"/>
              <a:gd name="connsiteX273" fmla="*/ 161523 w 3860171"/>
              <a:gd name="connsiteY273" fmla="*/ 1161094 h 3855489"/>
              <a:gd name="connsiteX274" fmla="*/ 181421 w 3860171"/>
              <a:gd name="connsiteY274" fmla="*/ 1133003 h 3855489"/>
              <a:gd name="connsiteX275" fmla="*/ 204830 w 3860171"/>
              <a:gd name="connsiteY275" fmla="*/ 1108424 h 3855489"/>
              <a:gd name="connsiteX276" fmla="*/ 231751 w 3860171"/>
              <a:gd name="connsiteY276" fmla="*/ 1083844 h 3855489"/>
              <a:gd name="connsiteX277" fmla="*/ 259842 w 3860171"/>
              <a:gd name="connsiteY277" fmla="*/ 1061605 h 3855489"/>
              <a:gd name="connsiteX278" fmla="*/ 289103 w 3860171"/>
              <a:gd name="connsiteY278" fmla="*/ 1039367 h 3855489"/>
              <a:gd name="connsiteX279" fmla="*/ 318365 w 3860171"/>
              <a:gd name="connsiteY279" fmla="*/ 1017128 h 3855489"/>
              <a:gd name="connsiteX280" fmla="*/ 347626 w 3860171"/>
              <a:gd name="connsiteY280" fmla="*/ 994889 h 3855489"/>
              <a:gd name="connsiteX281" fmla="*/ 374547 w 3860171"/>
              <a:gd name="connsiteY281" fmla="*/ 971480 h 3855489"/>
              <a:gd name="connsiteX282" fmla="*/ 397956 w 3860171"/>
              <a:gd name="connsiteY282" fmla="*/ 944560 h 3855489"/>
              <a:gd name="connsiteX283" fmla="*/ 419024 w 3860171"/>
              <a:gd name="connsiteY283" fmla="*/ 918809 h 3855489"/>
              <a:gd name="connsiteX284" fmla="*/ 435411 w 3860171"/>
              <a:gd name="connsiteY284" fmla="*/ 889548 h 3855489"/>
              <a:gd name="connsiteX285" fmla="*/ 449456 w 3860171"/>
              <a:gd name="connsiteY285" fmla="*/ 857946 h 3855489"/>
              <a:gd name="connsiteX286" fmla="*/ 461161 w 3860171"/>
              <a:gd name="connsiteY286" fmla="*/ 824002 h 3855489"/>
              <a:gd name="connsiteX287" fmla="*/ 471695 w 3860171"/>
              <a:gd name="connsiteY287" fmla="*/ 788889 h 3855489"/>
              <a:gd name="connsiteX288" fmla="*/ 481059 w 3860171"/>
              <a:gd name="connsiteY288" fmla="*/ 753775 h 3855489"/>
              <a:gd name="connsiteX289" fmla="*/ 490422 w 3860171"/>
              <a:gd name="connsiteY289" fmla="*/ 717491 h 3855489"/>
              <a:gd name="connsiteX290" fmla="*/ 500956 w 3860171"/>
              <a:gd name="connsiteY290" fmla="*/ 683547 h 3855489"/>
              <a:gd name="connsiteX291" fmla="*/ 512661 w 3860171"/>
              <a:gd name="connsiteY291" fmla="*/ 649604 h 3855489"/>
              <a:gd name="connsiteX292" fmla="*/ 526706 w 3860171"/>
              <a:gd name="connsiteY292" fmla="*/ 618002 h 3855489"/>
              <a:gd name="connsiteX293" fmla="*/ 544263 w 3860171"/>
              <a:gd name="connsiteY293" fmla="*/ 589911 h 3855489"/>
              <a:gd name="connsiteX294" fmla="*/ 565332 w 3860171"/>
              <a:gd name="connsiteY294" fmla="*/ 564161 h 3855489"/>
              <a:gd name="connsiteX295" fmla="*/ 591082 w 3860171"/>
              <a:gd name="connsiteY295" fmla="*/ 543092 h 3855489"/>
              <a:gd name="connsiteX296" fmla="*/ 619173 w 3860171"/>
              <a:gd name="connsiteY296" fmla="*/ 525535 h 3855489"/>
              <a:gd name="connsiteX297" fmla="*/ 650775 w 3860171"/>
              <a:gd name="connsiteY297" fmla="*/ 511490 h 3855489"/>
              <a:gd name="connsiteX298" fmla="*/ 684718 w 3860171"/>
              <a:gd name="connsiteY298" fmla="*/ 499785 h 3855489"/>
              <a:gd name="connsiteX299" fmla="*/ 718662 w 3860171"/>
              <a:gd name="connsiteY299" fmla="*/ 489251 h 3855489"/>
              <a:gd name="connsiteX300" fmla="*/ 754946 w 3860171"/>
              <a:gd name="connsiteY300" fmla="*/ 479888 h 3855489"/>
              <a:gd name="connsiteX301" fmla="*/ 790059 w 3860171"/>
              <a:gd name="connsiteY301" fmla="*/ 470524 h 3855489"/>
              <a:gd name="connsiteX302" fmla="*/ 825173 w 3860171"/>
              <a:gd name="connsiteY302" fmla="*/ 459990 h 3855489"/>
              <a:gd name="connsiteX303" fmla="*/ 859116 w 3860171"/>
              <a:gd name="connsiteY303" fmla="*/ 448285 h 3855489"/>
              <a:gd name="connsiteX304" fmla="*/ 890719 w 3860171"/>
              <a:gd name="connsiteY304" fmla="*/ 434240 h 3855489"/>
              <a:gd name="connsiteX305" fmla="*/ 919980 w 3860171"/>
              <a:gd name="connsiteY305" fmla="*/ 417853 h 3855489"/>
              <a:gd name="connsiteX306" fmla="*/ 945730 w 3860171"/>
              <a:gd name="connsiteY306" fmla="*/ 396785 h 3855489"/>
              <a:gd name="connsiteX307" fmla="*/ 972651 w 3860171"/>
              <a:gd name="connsiteY307" fmla="*/ 373376 h 3855489"/>
              <a:gd name="connsiteX308" fmla="*/ 996060 w 3860171"/>
              <a:gd name="connsiteY308" fmla="*/ 346455 h 3855489"/>
              <a:gd name="connsiteX309" fmla="*/ 1018299 w 3860171"/>
              <a:gd name="connsiteY309" fmla="*/ 318364 h 3855489"/>
              <a:gd name="connsiteX310" fmla="*/ 1040537 w 3860171"/>
              <a:gd name="connsiteY310" fmla="*/ 289103 h 3855489"/>
              <a:gd name="connsiteX311" fmla="*/ 1062776 w 3860171"/>
              <a:gd name="connsiteY311" fmla="*/ 259841 h 3855489"/>
              <a:gd name="connsiteX312" fmla="*/ 1085015 w 3860171"/>
              <a:gd name="connsiteY312" fmla="*/ 231750 h 3855489"/>
              <a:gd name="connsiteX313" fmla="*/ 1109594 w 3860171"/>
              <a:gd name="connsiteY313" fmla="*/ 204830 h 3855489"/>
              <a:gd name="connsiteX314" fmla="*/ 1134174 w 3860171"/>
              <a:gd name="connsiteY314" fmla="*/ 181421 h 3855489"/>
              <a:gd name="connsiteX315" fmla="*/ 1162265 w 3860171"/>
              <a:gd name="connsiteY315" fmla="*/ 161523 h 3855489"/>
              <a:gd name="connsiteX316" fmla="*/ 1191526 w 3860171"/>
              <a:gd name="connsiteY316" fmla="*/ 146307 h 3855489"/>
              <a:gd name="connsiteX317" fmla="*/ 1226640 w 3860171"/>
              <a:gd name="connsiteY317" fmla="*/ 135773 h 3855489"/>
              <a:gd name="connsiteX318" fmla="*/ 1262924 w 3860171"/>
              <a:gd name="connsiteY318" fmla="*/ 131091 h 3855489"/>
              <a:gd name="connsiteX319" fmla="*/ 1300379 w 3860171"/>
              <a:gd name="connsiteY319" fmla="*/ 129921 h 3855489"/>
              <a:gd name="connsiteX320" fmla="*/ 1340175 w 3860171"/>
              <a:gd name="connsiteY320" fmla="*/ 133432 h 3855489"/>
              <a:gd name="connsiteX321" fmla="*/ 1379970 w 3860171"/>
              <a:gd name="connsiteY321" fmla="*/ 138114 h 3855489"/>
              <a:gd name="connsiteX322" fmla="*/ 1419766 w 3860171"/>
              <a:gd name="connsiteY322" fmla="*/ 143966 h 3855489"/>
              <a:gd name="connsiteX323" fmla="*/ 1459561 w 3860171"/>
              <a:gd name="connsiteY323" fmla="*/ 148648 h 3855489"/>
              <a:gd name="connsiteX324" fmla="*/ 1499357 w 3860171"/>
              <a:gd name="connsiteY324" fmla="*/ 150989 h 3855489"/>
              <a:gd name="connsiteX325" fmla="*/ 1537982 w 3860171"/>
              <a:gd name="connsiteY325" fmla="*/ 150989 h 3855489"/>
              <a:gd name="connsiteX326" fmla="*/ 1574266 w 3860171"/>
              <a:gd name="connsiteY326" fmla="*/ 146307 h 3855489"/>
              <a:gd name="connsiteX327" fmla="*/ 1610550 w 3860171"/>
              <a:gd name="connsiteY327" fmla="*/ 136943 h 3855489"/>
              <a:gd name="connsiteX328" fmla="*/ 1645664 w 3860171"/>
              <a:gd name="connsiteY328" fmla="*/ 122898 h 3855489"/>
              <a:gd name="connsiteX329" fmla="*/ 1680778 w 3860171"/>
              <a:gd name="connsiteY329" fmla="*/ 104171 h 3855489"/>
              <a:gd name="connsiteX330" fmla="*/ 1715892 w 3860171"/>
              <a:gd name="connsiteY330" fmla="*/ 85443 h 3855489"/>
              <a:gd name="connsiteX331" fmla="*/ 1751005 w 3860171"/>
              <a:gd name="connsiteY331" fmla="*/ 64375 h 3855489"/>
              <a:gd name="connsiteX332" fmla="*/ 1784949 w 3860171"/>
              <a:gd name="connsiteY332" fmla="*/ 44477 h 3855489"/>
              <a:gd name="connsiteX333" fmla="*/ 1821233 w 3860171"/>
              <a:gd name="connsiteY333" fmla="*/ 26920 h 3855489"/>
              <a:gd name="connsiteX334" fmla="*/ 1856347 w 3860171"/>
              <a:gd name="connsiteY334" fmla="*/ 12875 h 3855489"/>
              <a:gd name="connsiteX335" fmla="*/ 1892631 w 3860171"/>
              <a:gd name="connsiteY335" fmla="*/ 3511 h 3855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3860171" h="3855489">
                <a:moveTo>
                  <a:pt x="1930086" y="0"/>
                </a:moveTo>
                <a:lnTo>
                  <a:pt x="1967540" y="3511"/>
                </a:lnTo>
                <a:lnTo>
                  <a:pt x="2003824" y="12875"/>
                </a:lnTo>
                <a:lnTo>
                  <a:pt x="2038938" y="26920"/>
                </a:lnTo>
                <a:lnTo>
                  <a:pt x="2075222" y="44477"/>
                </a:lnTo>
                <a:lnTo>
                  <a:pt x="2109166" y="64375"/>
                </a:lnTo>
                <a:lnTo>
                  <a:pt x="2144279" y="85443"/>
                </a:lnTo>
                <a:lnTo>
                  <a:pt x="2179393" y="104171"/>
                </a:lnTo>
                <a:lnTo>
                  <a:pt x="2214507" y="122898"/>
                </a:lnTo>
                <a:lnTo>
                  <a:pt x="2248450" y="136943"/>
                </a:lnTo>
                <a:lnTo>
                  <a:pt x="2285905" y="146307"/>
                </a:lnTo>
                <a:lnTo>
                  <a:pt x="2322189" y="150989"/>
                </a:lnTo>
                <a:lnTo>
                  <a:pt x="2360814" y="150989"/>
                </a:lnTo>
                <a:lnTo>
                  <a:pt x="2400610" y="148648"/>
                </a:lnTo>
                <a:lnTo>
                  <a:pt x="2440405" y="143966"/>
                </a:lnTo>
                <a:lnTo>
                  <a:pt x="2480201" y="138114"/>
                </a:lnTo>
                <a:lnTo>
                  <a:pt x="2519996" y="133432"/>
                </a:lnTo>
                <a:lnTo>
                  <a:pt x="2559792" y="129921"/>
                </a:lnTo>
                <a:lnTo>
                  <a:pt x="2597247" y="131091"/>
                </a:lnTo>
                <a:lnTo>
                  <a:pt x="2633531" y="135773"/>
                </a:lnTo>
                <a:lnTo>
                  <a:pt x="2668644" y="146307"/>
                </a:lnTo>
                <a:lnTo>
                  <a:pt x="2697906" y="161523"/>
                </a:lnTo>
                <a:lnTo>
                  <a:pt x="2725997" y="181421"/>
                </a:lnTo>
                <a:lnTo>
                  <a:pt x="2750577" y="204830"/>
                </a:lnTo>
                <a:lnTo>
                  <a:pt x="2775156" y="231750"/>
                </a:lnTo>
                <a:lnTo>
                  <a:pt x="2797395" y="259841"/>
                </a:lnTo>
                <a:lnTo>
                  <a:pt x="2819634" y="289103"/>
                </a:lnTo>
                <a:lnTo>
                  <a:pt x="2841872" y="318364"/>
                </a:lnTo>
                <a:lnTo>
                  <a:pt x="2864111" y="346455"/>
                </a:lnTo>
                <a:lnTo>
                  <a:pt x="2887520" y="373376"/>
                </a:lnTo>
                <a:lnTo>
                  <a:pt x="2914441" y="396785"/>
                </a:lnTo>
                <a:lnTo>
                  <a:pt x="2940191" y="417853"/>
                </a:lnTo>
                <a:lnTo>
                  <a:pt x="2969452" y="434240"/>
                </a:lnTo>
                <a:lnTo>
                  <a:pt x="3001055" y="448285"/>
                </a:lnTo>
                <a:lnTo>
                  <a:pt x="3034998" y="459990"/>
                </a:lnTo>
                <a:lnTo>
                  <a:pt x="3070112" y="470524"/>
                </a:lnTo>
                <a:lnTo>
                  <a:pt x="3105226" y="479888"/>
                </a:lnTo>
                <a:lnTo>
                  <a:pt x="3141510" y="489251"/>
                </a:lnTo>
                <a:lnTo>
                  <a:pt x="3175453" y="499785"/>
                </a:lnTo>
                <a:lnTo>
                  <a:pt x="3209396" y="511490"/>
                </a:lnTo>
                <a:lnTo>
                  <a:pt x="3240999" y="525535"/>
                </a:lnTo>
                <a:lnTo>
                  <a:pt x="3269090" y="543092"/>
                </a:lnTo>
                <a:lnTo>
                  <a:pt x="3294840" y="564161"/>
                </a:lnTo>
                <a:lnTo>
                  <a:pt x="3315908" y="589911"/>
                </a:lnTo>
                <a:lnTo>
                  <a:pt x="3333465" y="618002"/>
                </a:lnTo>
                <a:lnTo>
                  <a:pt x="3347510" y="649604"/>
                </a:lnTo>
                <a:lnTo>
                  <a:pt x="3359215" y="683547"/>
                </a:lnTo>
                <a:lnTo>
                  <a:pt x="3369749" y="717491"/>
                </a:lnTo>
                <a:lnTo>
                  <a:pt x="3379113" y="753775"/>
                </a:lnTo>
                <a:lnTo>
                  <a:pt x="3388476" y="788889"/>
                </a:lnTo>
                <a:lnTo>
                  <a:pt x="3399010" y="824002"/>
                </a:lnTo>
                <a:lnTo>
                  <a:pt x="3410715" y="857946"/>
                </a:lnTo>
                <a:lnTo>
                  <a:pt x="3424760" y="889548"/>
                </a:lnTo>
                <a:lnTo>
                  <a:pt x="3441147" y="918809"/>
                </a:lnTo>
                <a:lnTo>
                  <a:pt x="3462215" y="944560"/>
                </a:lnTo>
                <a:lnTo>
                  <a:pt x="3485624" y="971480"/>
                </a:lnTo>
                <a:lnTo>
                  <a:pt x="3512545" y="994889"/>
                </a:lnTo>
                <a:lnTo>
                  <a:pt x="3540636" y="1017128"/>
                </a:lnTo>
                <a:lnTo>
                  <a:pt x="3571068" y="1039367"/>
                </a:lnTo>
                <a:lnTo>
                  <a:pt x="3600329" y="1061605"/>
                </a:lnTo>
                <a:lnTo>
                  <a:pt x="3628420" y="1083844"/>
                </a:lnTo>
                <a:lnTo>
                  <a:pt x="3655341" y="1108424"/>
                </a:lnTo>
                <a:lnTo>
                  <a:pt x="3678750" y="1133003"/>
                </a:lnTo>
                <a:lnTo>
                  <a:pt x="3698648" y="1161094"/>
                </a:lnTo>
                <a:lnTo>
                  <a:pt x="3713864" y="1190356"/>
                </a:lnTo>
                <a:lnTo>
                  <a:pt x="3724398" y="1225469"/>
                </a:lnTo>
                <a:lnTo>
                  <a:pt x="3729080" y="1261754"/>
                </a:lnTo>
                <a:lnTo>
                  <a:pt x="3730250" y="1299208"/>
                </a:lnTo>
                <a:lnTo>
                  <a:pt x="3726739" y="1339004"/>
                </a:lnTo>
                <a:lnTo>
                  <a:pt x="3722057" y="1378799"/>
                </a:lnTo>
                <a:lnTo>
                  <a:pt x="3716205" y="1418595"/>
                </a:lnTo>
                <a:lnTo>
                  <a:pt x="3711523" y="1458391"/>
                </a:lnTo>
                <a:lnTo>
                  <a:pt x="3709182" y="1498186"/>
                </a:lnTo>
                <a:lnTo>
                  <a:pt x="3709182" y="1536811"/>
                </a:lnTo>
                <a:lnTo>
                  <a:pt x="3713864" y="1573096"/>
                </a:lnTo>
                <a:lnTo>
                  <a:pt x="3723228" y="1609380"/>
                </a:lnTo>
                <a:lnTo>
                  <a:pt x="3737273" y="1643323"/>
                </a:lnTo>
                <a:lnTo>
                  <a:pt x="3756000" y="1678437"/>
                </a:lnTo>
                <a:lnTo>
                  <a:pt x="3774728" y="1713550"/>
                </a:lnTo>
                <a:lnTo>
                  <a:pt x="3795796" y="1748664"/>
                </a:lnTo>
                <a:lnTo>
                  <a:pt x="3815694" y="1782608"/>
                </a:lnTo>
                <a:lnTo>
                  <a:pt x="3833250" y="1818892"/>
                </a:lnTo>
                <a:lnTo>
                  <a:pt x="3847296" y="1854005"/>
                </a:lnTo>
                <a:lnTo>
                  <a:pt x="3856660" y="1890290"/>
                </a:lnTo>
                <a:lnTo>
                  <a:pt x="3860171" y="1927744"/>
                </a:lnTo>
                <a:lnTo>
                  <a:pt x="3856660" y="1965199"/>
                </a:lnTo>
                <a:lnTo>
                  <a:pt x="3847296" y="2001483"/>
                </a:lnTo>
                <a:lnTo>
                  <a:pt x="3833250" y="2036597"/>
                </a:lnTo>
                <a:lnTo>
                  <a:pt x="3815694" y="2072881"/>
                </a:lnTo>
                <a:lnTo>
                  <a:pt x="3795796" y="2106824"/>
                </a:lnTo>
                <a:lnTo>
                  <a:pt x="3774728" y="2141938"/>
                </a:lnTo>
                <a:lnTo>
                  <a:pt x="3756000" y="2177052"/>
                </a:lnTo>
                <a:lnTo>
                  <a:pt x="3737273" y="2212166"/>
                </a:lnTo>
                <a:lnTo>
                  <a:pt x="3723228" y="2246109"/>
                </a:lnTo>
                <a:lnTo>
                  <a:pt x="3713864" y="2282393"/>
                </a:lnTo>
                <a:lnTo>
                  <a:pt x="3709182" y="2318677"/>
                </a:lnTo>
                <a:lnTo>
                  <a:pt x="3709182" y="2357302"/>
                </a:lnTo>
                <a:lnTo>
                  <a:pt x="3711523" y="2397098"/>
                </a:lnTo>
                <a:lnTo>
                  <a:pt x="3716205" y="2436894"/>
                </a:lnTo>
                <a:lnTo>
                  <a:pt x="3722057" y="2476689"/>
                </a:lnTo>
                <a:lnTo>
                  <a:pt x="3726739" y="2516485"/>
                </a:lnTo>
                <a:lnTo>
                  <a:pt x="3730250" y="2556280"/>
                </a:lnTo>
                <a:lnTo>
                  <a:pt x="3729080" y="2593735"/>
                </a:lnTo>
                <a:lnTo>
                  <a:pt x="3724398" y="2630019"/>
                </a:lnTo>
                <a:lnTo>
                  <a:pt x="3713864" y="2665133"/>
                </a:lnTo>
                <a:lnTo>
                  <a:pt x="3698648" y="2694394"/>
                </a:lnTo>
                <a:lnTo>
                  <a:pt x="3678750" y="2722485"/>
                </a:lnTo>
                <a:lnTo>
                  <a:pt x="3655341" y="2747065"/>
                </a:lnTo>
                <a:lnTo>
                  <a:pt x="3628420" y="2771645"/>
                </a:lnTo>
                <a:lnTo>
                  <a:pt x="3600329" y="2793883"/>
                </a:lnTo>
                <a:lnTo>
                  <a:pt x="3571068" y="2816122"/>
                </a:lnTo>
                <a:lnTo>
                  <a:pt x="3540636" y="2838361"/>
                </a:lnTo>
                <a:lnTo>
                  <a:pt x="3512545" y="2860599"/>
                </a:lnTo>
                <a:lnTo>
                  <a:pt x="3485624" y="2884009"/>
                </a:lnTo>
                <a:lnTo>
                  <a:pt x="3462215" y="2910929"/>
                </a:lnTo>
                <a:lnTo>
                  <a:pt x="3441147" y="2936679"/>
                </a:lnTo>
                <a:lnTo>
                  <a:pt x="3424760" y="2965941"/>
                </a:lnTo>
                <a:lnTo>
                  <a:pt x="3410715" y="2997543"/>
                </a:lnTo>
                <a:lnTo>
                  <a:pt x="3399010" y="3031486"/>
                </a:lnTo>
                <a:lnTo>
                  <a:pt x="3388476" y="3066600"/>
                </a:lnTo>
                <a:lnTo>
                  <a:pt x="3379113" y="3101714"/>
                </a:lnTo>
                <a:lnTo>
                  <a:pt x="3369749" y="3137998"/>
                </a:lnTo>
                <a:lnTo>
                  <a:pt x="3359215" y="3171941"/>
                </a:lnTo>
                <a:lnTo>
                  <a:pt x="3347510" y="3205885"/>
                </a:lnTo>
                <a:lnTo>
                  <a:pt x="3333465" y="3237487"/>
                </a:lnTo>
                <a:lnTo>
                  <a:pt x="3315908" y="3265578"/>
                </a:lnTo>
                <a:lnTo>
                  <a:pt x="3294840" y="3291328"/>
                </a:lnTo>
                <a:lnTo>
                  <a:pt x="3269090" y="3312396"/>
                </a:lnTo>
                <a:lnTo>
                  <a:pt x="3240999" y="3329953"/>
                </a:lnTo>
                <a:lnTo>
                  <a:pt x="3209396" y="3343999"/>
                </a:lnTo>
                <a:lnTo>
                  <a:pt x="3175453" y="3355703"/>
                </a:lnTo>
                <a:lnTo>
                  <a:pt x="3141510" y="3366237"/>
                </a:lnTo>
                <a:lnTo>
                  <a:pt x="3105226" y="3375601"/>
                </a:lnTo>
                <a:lnTo>
                  <a:pt x="3070112" y="3384965"/>
                </a:lnTo>
                <a:lnTo>
                  <a:pt x="3034998" y="3395499"/>
                </a:lnTo>
                <a:lnTo>
                  <a:pt x="3001055" y="3407203"/>
                </a:lnTo>
                <a:lnTo>
                  <a:pt x="2969452" y="3421249"/>
                </a:lnTo>
                <a:lnTo>
                  <a:pt x="2940191" y="3437635"/>
                </a:lnTo>
                <a:lnTo>
                  <a:pt x="2914441" y="3458704"/>
                </a:lnTo>
                <a:lnTo>
                  <a:pt x="2887520" y="3482113"/>
                </a:lnTo>
                <a:lnTo>
                  <a:pt x="2864111" y="3509033"/>
                </a:lnTo>
                <a:lnTo>
                  <a:pt x="2841872" y="3537124"/>
                </a:lnTo>
                <a:lnTo>
                  <a:pt x="2819634" y="3566386"/>
                </a:lnTo>
                <a:lnTo>
                  <a:pt x="2797395" y="3595647"/>
                </a:lnTo>
                <a:lnTo>
                  <a:pt x="2775156" y="3623738"/>
                </a:lnTo>
                <a:lnTo>
                  <a:pt x="2750577" y="3650659"/>
                </a:lnTo>
                <a:lnTo>
                  <a:pt x="2725997" y="3674068"/>
                </a:lnTo>
                <a:lnTo>
                  <a:pt x="2697906" y="3693966"/>
                </a:lnTo>
                <a:lnTo>
                  <a:pt x="2668644" y="3709182"/>
                </a:lnTo>
                <a:lnTo>
                  <a:pt x="2633531" y="3719716"/>
                </a:lnTo>
                <a:lnTo>
                  <a:pt x="2597247" y="3724398"/>
                </a:lnTo>
                <a:lnTo>
                  <a:pt x="2559792" y="3725568"/>
                </a:lnTo>
                <a:lnTo>
                  <a:pt x="2519996" y="3722057"/>
                </a:lnTo>
                <a:lnTo>
                  <a:pt x="2480201" y="3717375"/>
                </a:lnTo>
                <a:lnTo>
                  <a:pt x="2440405" y="3711523"/>
                </a:lnTo>
                <a:lnTo>
                  <a:pt x="2400610" y="3706841"/>
                </a:lnTo>
                <a:lnTo>
                  <a:pt x="2360814" y="3704500"/>
                </a:lnTo>
                <a:lnTo>
                  <a:pt x="2322189" y="3704500"/>
                </a:lnTo>
                <a:lnTo>
                  <a:pt x="2285905" y="3709182"/>
                </a:lnTo>
                <a:lnTo>
                  <a:pt x="2248450" y="3718545"/>
                </a:lnTo>
                <a:lnTo>
                  <a:pt x="2214507" y="3732591"/>
                </a:lnTo>
                <a:lnTo>
                  <a:pt x="2179393" y="3751318"/>
                </a:lnTo>
                <a:lnTo>
                  <a:pt x="2144279" y="3770045"/>
                </a:lnTo>
                <a:lnTo>
                  <a:pt x="2109166" y="3791114"/>
                </a:lnTo>
                <a:lnTo>
                  <a:pt x="2075222" y="3811011"/>
                </a:lnTo>
                <a:lnTo>
                  <a:pt x="2038938" y="3828568"/>
                </a:lnTo>
                <a:lnTo>
                  <a:pt x="2003824" y="3842614"/>
                </a:lnTo>
                <a:lnTo>
                  <a:pt x="1967540" y="3851978"/>
                </a:lnTo>
                <a:lnTo>
                  <a:pt x="1930086" y="3855489"/>
                </a:lnTo>
                <a:lnTo>
                  <a:pt x="1892631" y="3851978"/>
                </a:lnTo>
                <a:lnTo>
                  <a:pt x="1856347" y="3842614"/>
                </a:lnTo>
                <a:lnTo>
                  <a:pt x="1821233" y="3828568"/>
                </a:lnTo>
                <a:lnTo>
                  <a:pt x="1784949" y="3811011"/>
                </a:lnTo>
                <a:lnTo>
                  <a:pt x="1751005" y="3791114"/>
                </a:lnTo>
                <a:lnTo>
                  <a:pt x="1715892" y="3770045"/>
                </a:lnTo>
                <a:lnTo>
                  <a:pt x="1680778" y="3751318"/>
                </a:lnTo>
                <a:lnTo>
                  <a:pt x="1645664" y="3732591"/>
                </a:lnTo>
                <a:lnTo>
                  <a:pt x="1610550" y="3718545"/>
                </a:lnTo>
                <a:lnTo>
                  <a:pt x="1574266" y="3709182"/>
                </a:lnTo>
                <a:lnTo>
                  <a:pt x="1537982" y="3704500"/>
                </a:lnTo>
                <a:lnTo>
                  <a:pt x="1499357" y="3704500"/>
                </a:lnTo>
                <a:lnTo>
                  <a:pt x="1459561" y="3706841"/>
                </a:lnTo>
                <a:lnTo>
                  <a:pt x="1419766" y="3711523"/>
                </a:lnTo>
                <a:lnTo>
                  <a:pt x="1379970" y="3717375"/>
                </a:lnTo>
                <a:lnTo>
                  <a:pt x="1340175" y="3722057"/>
                </a:lnTo>
                <a:lnTo>
                  <a:pt x="1300379" y="3725568"/>
                </a:lnTo>
                <a:lnTo>
                  <a:pt x="1262924" y="3724398"/>
                </a:lnTo>
                <a:lnTo>
                  <a:pt x="1226640" y="3719716"/>
                </a:lnTo>
                <a:lnTo>
                  <a:pt x="1191526" y="3709182"/>
                </a:lnTo>
                <a:lnTo>
                  <a:pt x="1162265" y="3693966"/>
                </a:lnTo>
                <a:lnTo>
                  <a:pt x="1134174" y="3674068"/>
                </a:lnTo>
                <a:lnTo>
                  <a:pt x="1109594" y="3650659"/>
                </a:lnTo>
                <a:lnTo>
                  <a:pt x="1085015" y="3623738"/>
                </a:lnTo>
                <a:lnTo>
                  <a:pt x="1062776" y="3595647"/>
                </a:lnTo>
                <a:lnTo>
                  <a:pt x="1040537" y="3566386"/>
                </a:lnTo>
                <a:lnTo>
                  <a:pt x="1018299" y="3537124"/>
                </a:lnTo>
                <a:lnTo>
                  <a:pt x="996060" y="3509033"/>
                </a:lnTo>
                <a:lnTo>
                  <a:pt x="972651" y="3482113"/>
                </a:lnTo>
                <a:lnTo>
                  <a:pt x="945730" y="3458704"/>
                </a:lnTo>
                <a:lnTo>
                  <a:pt x="919980" y="3437635"/>
                </a:lnTo>
                <a:lnTo>
                  <a:pt x="890719" y="3421249"/>
                </a:lnTo>
                <a:lnTo>
                  <a:pt x="859116" y="3407203"/>
                </a:lnTo>
                <a:lnTo>
                  <a:pt x="825173" y="3395499"/>
                </a:lnTo>
                <a:lnTo>
                  <a:pt x="790059" y="3384965"/>
                </a:lnTo>
                <a:lnTo>
                  <a:pt x="754946" y="3375601"/>
                </a:lnTo>
                <a:lnTo>
                  <a:pt x="718662" y="3366237"/>
                </a:lnTo>
                <a:lnTo>
                  <a:pt x="684718" y="3355703"/>
                </a:lnTo>
                <a:lnTo>
                  <a:pt x="650775" y="3343999"/>
                </a:lnTo>
                <a:lnTo>
                  <a:pt x="619173" y="3329953"/>
                </a:lnTo>
                <a:lnTo>
                  <a:pt x="591082" y="3312396"/>
                </a:lnTo>
                <a:lnTo>
                  <a:pt x="565332" y="3291328"/>
                </a:lnTo>
                <a:lnTo>
                  <a:pt x="544263" y="3265578"/>
                </a:lnTo>
                <a:lnTo>
                  <a:pt x="526706" y="3237487"/>
                </a:lnTo>
                <a:lnTo>
                  <a:pt x="512661" y="3205885"/>
                </a:lnTo>
                <a:lnTo>
                  <a:pt x="500956" y="3171941"/>
                </a:lnTo>
                <a:lnTo>
                  <a:pt x="490422" y="3137998"/>
                </a:lnTo>
                <a:lnTo>
                  <a:pt x="481059" y="3101714"/>
                </a:lnTo>
                <a:lnTo>
                  <a:pt x="471695" y="3066600"/>
                </a:lnTo>
                <a:lnTo>
                  <a:pt x="461161" y="3031486"/>
                </a:lnTo>
                <a:lnTo>
                  <a:pt x="449456" y="2997543"/>
                </a:lnTo>
                <a:lnTo>
                  <a:pt x="435411" y="2965941"/>
                </a:lnTo>
                <a:lnTo>
                  <a:pt x="419024" y="2936679"/>
                </a:lnTo>
                <a:lnTo>
                  <a:pt x="397956" y="2910929"/>
                </a:lnTo>
                <a:lnTo>
                  <a:pt x="374547" y="2884009"/>
                </a:lnTo>
                <a:lnTo>
                  <a:pt x="347626" y="2860599"/>
                </a:lnTo>
                <a:lnTo>
                  <a:pt x="318365" y="2838361"/>
                </a:lnTo>
                <a:lnTo>
                  <a:pt x="289103" y="2816122"/>
                </a:lnTo>
                <a:lnTo>
                  <a:pt x="259842" y="2793883"/>
                </a:lnTo>
                <a:lnTo>
                  <a:pt x="231751" y="2771645"/>
                </a:lnTo>
                <a:lnTo>
                  <a:pt x="204830" y="2747065"/>
                </a:lnTo>
                <a:lnTo>
                  <a:pt x="181421" y="2722485"/>
                </a:lnTo>
                <a:lnTo>
                  <a:pt x="161523" y="2694394"/>
                </a:lnTo>
                <a:lnTo>
                  <a:pt x="146308" y="2665133"/>
                </a:lnTo>
                <a:lnTo>
                  <a:pt x="135773" y="2630019"/>
                </a:lnTo>
                <a:lnTo>
                  <a:pt x="131092" y="2593735"/>
                </a:lnTo>
                <a:lnTo>
                  <a:pt x="129921" y="2556280"/>
                </a:lnTo>
                <a:lnTo>
                  <a:pt x="133432" y="2516485"/>
                </a:lnTo>
                <a:lnTo>
                  <a:pt x="138114" y="2476689"/>
                </a:lnTo>
                <a:lnTo>
                  <a:pt x="143967" y="2436894"/>
                </a:lnTo>
                <a:lnTo>
                  <a:pt x="148648" y="2397098"/>
                </a:lnTo>
                <a:lnTo>
                  <a:pt x="150989" y="2357302"/>
                </a:lnTo>
                <a:lnTo>
                  <a:pt x="150989" y="2318677"/>
                </a:lnTo>
                <a:lnTo>
                  <a:pt x="146308" y="2282393"/>
                </a:lnTo>
                <a:lnTo>
                  <a:pt x="136944" y="2246109"/>
                </a:lnTo>
                <a:lnTo>
                  <a:pt x="122898" y="2212166"/>
                </a:lnTo>
                <a:lnTo>
                  <a:pt x="105341" y="2177052"/>
                </a:lnTo>
                <a:lnTo>
                  <a:pt x="85444" y="2141938"/>
                </a:lnTo>
                <a:lnTo>
                  <a:pt x="64375" y="2106824"/>
                </a:lnTo>
                <a:lnTo>
                  <a:pt x="44478" y="2072881"/>
                </a:lnTo>
                <a:lnTo>
                  <a:pt x="26921" y="2036597"/>
                </a:lnTo>
                <a:lnTo>
                  <a:pt x="12875" y="2001483"/>
                </a:lnTo>
                <a:lnTo>
                  <a:pt x="3512" y="1965199"/>
                </a:lnTo>
                <a:lnTo>
                  <a:pt x="0" y="1927744"/>
                </a:lnTo>
                <a:lnTo>
                  <a:pt x="3512" y="1890290"/>
                </a:lnTo>
                <a:lnTo>
                  <a:pt x="12875" y="1854005"/>
                </a:lnTo>
                <a:lnTo>
                  <a:pt x="26921" y="1818892"/>
                </a:lnTo>
                <a:lnTo>
                  <a:pt x="44478" y="1782608"/>
                </a:lnTo>
                <a:lnTo>
                  <a:pt x="64375" y="1748664"/>
                </a:lnTo>
                <a:lnTo>
                  <a:pt x="85444" y="1713550"/>
                </a:lnTo>
                <a:lnTo>
                  <a:pt x="105341" y="1678437"/>
                </a:lnTo>
                <a:lnTo>
                  <a:pt x="122898" y="1643323"/>
                </a:lnTo>
                <a:lnTo>
                  <a:pt x="136944" y="1609380"/>
                </a:lnTo>
                <a:lnTo>
                  <a:pt x="146308" y="1573096"/>
                </a:lnTo>
                <a:lnTo>
                  <a:pt x="150989" y="1536811"/>
                </a:lnTo>
                <a:lnTo>
                  <a:pt x="150989" y="1498186"/>
                </a:lnTo>
                <a:lnTo>
                  <a:pt x="148648" y="1458391"/>
                </a:lnTo>
                <a:lnTo>
                  <a:pt x="143967" y="1418595"/>
                </a:lnTo>
                <a:lnTo>
                  <a:pt x="138114" y="1378799"/>
                </a:lnTo>
                <a:lnTo>
                  <a:pt x="133432" y="1339004"/>
                </a:lnTo>
                <a:lnTo>
                  <a:pt x="129921" y="1299208"/>
                </a:lnTo>
                <a:lnTo>
                  <a:pt x="131092" y="1261754"/>
                </a:lnTo>
                <a:lnTo>
                  <a:pt x="135773" y="1225469"/>
                </a:lnTo>
                <a:lnTo>
                  <a:pt x="146308" y="1190356"/>
                </a:lnTo>
                <a:lnTo>
                  <a:pt x="161523" y="1161094"/>
                </a:lnTo>
                <a:lnTo>
                  <a:pt x="181421" y="1133003"/>
                </a:lnTo>
                <a:lnTo>
                  <a:pt x="204830" y="1108424"/>
                </a:lnTo>
                <a:lnTo>
                  <a:pt x="231751" y="1083844"/>
                </a:lnTo>
                <a:lnTo>
                  <a:pt x="259842" y="1061605"/>
                </a:lnTo>
                <a:lnTo>
                  <a:pt x="289103" y="1039367"/>
                </a:lnTo>
                <a:lnTo>
                  <a:pt x="318365" y="1017128"/>
                </a:lnTo>
                <a:lnTo>
                  <a:pt x="347626" y="994889"/>
                </a:lnTo>
                <a:lnTo>
                  <a:pt x="374547" y="971480"/>
                </a:lnTo>
                <a:lnTo>
                  <a:pt x="397956" y="944560"/>
                </a:lnTo>
                <a:lnTo>
                  <a:pt x="419024" y="918809"/>
                </a:lnTo>
                <a:lnTo>
                  <a:pt x="435411" y="889548"/>
                </a:lnTo>
                <a:lnTo>
                  <a:pt x="449456" y="857946"/>
                </a:lnTo>
                <a:lnTo>
                  <a:pt x="461161" y="824002"/>
                </a:lnTo>
                <a:lnTo>
                  <a:pt x="471695" y="788889"/>
                </a:lnTo>
                <a:lnTo>
                  <a:pt x="481059" y="753775"/>
                </a:lnTo>
                <a:lnTo>
                  <a:pt x="490422" y="717491"/>
                </a:lnTo>
                <a:lnTo>
                  <a:pt x="500956" y="683547"/>
                </a:lnTo>
                <a:lnTo>
                  <a:pt x="512661" y="649604"/>
                </a:lnTo>
                <a:lnTo>
                  <a:pt x="526706" y="618002"/>
                </a:lnTo>
                <a:lnTo>
                  <a:pt x="544263" y="589911"/>
                </a:lnTo>
                <a:lnTo>
                  <a:pt x="565332" y="564161"/>
                </a:lnTo>
                <a:lnTo>
                  <a:pt x="591082" y="543092"/>
                </a:lnTo>
                <a:lnTo>
                  <a:pt x="619173" y="525535"/>
                </a:lnTo>
                <a:lnTo>
                  <a:pt x="650775" y="511490"/>
                </a:lnTo>
                <a:lnTo>
                  <a:pt x="684718" y="499785"/>
                </a:lnTo>
                <a:lnTo>
                  <a:pt x="718662" y="489251"/>
                </a:lnTo>
                <a:lnTo>
                  <a:pt x="754946" y="479888"/>
                </a:lnTo>
                <a:lnTo>
                  <a:pt x="790059" y="470524"/>
                </a:lnTo>
                <a:lnTo>
                  <a:pt x="825173" y="459990"/>
                </a:lnTo>
                <a:lnTo>
                  <a:pt x="859116" y="448285"/>
                </a:lnTo>
                <a:lnTo>
                  <a:pt x="890719" y="434240"/>
                </a:lnTo>
                <a:lnTo>
                  <a:pt x="919980" y="417853"/>
                </a:lnTo>
                <a:lnTo>
                  <a:pt x="945730" y="396785"/>
                </a:lnTo>
                <a:lnTo>
                  <a:pt x="972651" y="373376"/>
                </a:lnTo>
                <a:lnTo>
                  <a:pt x="996060" y="346455"/>
                </a:lnTo>
                <a:lnTo>
                  <a:pt x="1018299" y="318364"/>
                </a:lnTo>
                <a:lnTo>
                  <a:pt x="1040537" y="289103"/>
                </a:lnTo>
                <a:lnTo>
                  <a:pt x="1062776" y="259841"/>
                </a:lnTo>
                <a:lnTo>
                  <a:pt x="1085015" y="231750"/>
                </a:lnTo>
                <a:lnTo>
                  <a:pt x="1109594" y="204830"/>
                </a:lnTo>
                <a:lnTo>
                  <a:pt x="1134174" y="181421"/>
                </a:lnTo>
                <a:lnTo>
                  <a:pt x="1162265" y="161523"/>
                </a:lnTo>
                <a:lnTo>
                  <a:pt x="1191526" y="146307"/>
                </a:lnTo>
                <a:lnTo>
                  <a:pt x="1226640" y="135773"/>
                </a:lnTo>
                <a:lnTo>
                  <a:pt x="1262924" y="131091"/>
                </a:lnTo>
                <a:lnTo>
                  <a:pt x="1300379" y="129921"/>
                </a:lnTo>
                <a:lnTo>
                  <a:pt x="1340175" y="133432"/>
                </a:lnTo>
                <a:lnTo>
                  <a:pt x="1379970" y="138114"/>
                </a:lnTo>
                <a:lnTo>
                  <a:pt x="1419766" y="143966"/>
                </a:lnTo>
                <a:lnTo>
                  <a:pt x="1459561" y="148648"/>
                </a:lnTo>
                <a:lnTo>
                  <a:pt x="1499357" y="150989"/>
                </a:lnTo>
                <a:lnTo>
                  <a:pt x="1537982" y="150989"/>
                </a:lnTo>
                <a:lnTo>
                  <a:pt x="1574266" y="146307"/>
                </a:lnTo>
                <a:lnTo>
                  <a:pt x="1610550" y="136943"/>
                </a:lnTo>
                <a:lnTo>
                  <a:pt x="1645664" y="122898"/>
                </a:lnTo>
                <a:lnTo>
                  <a:pt x="1680778" y="104171"/>
                </a:lnTo>
                <a:lnTo>
                  <a:pt x="1715892" y="85443"/>
                </a:lnTo>
                <a:lnTo>
                  <a:pt x="1751005" y="64375"/>
                </a:lnTo>
                <a:lnTo>
                  <a:pt x="1784949" y="44477"/>
                </a:lnTo>
                <a:lnTo>
                  <a:pt x="1821233" y="26920"/>
                </a:lnTo>
                <a:lnTo>
                  <a:pt x="1856347" y="12875"/>
                </a:lnTo>
                <a:lnTo>
                  <a:pt x="1892631" y="3511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3977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BA3B4D-E453-40F2-898F-CEEB242838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861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BA3B4D-E453-40F2-898F-CEEB24283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265C7D-7C3E-4F91-A09F-3995DA9CB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8" y="392324"/>
            <a:ext cx="10178322" cy="1492132"/>
          </a:xfrm>
        </p:spPr>
        <p:txBody>
          <a:bodyPr>
            <a:normAutofit/>
          </a:bodyPr>
          <a:lstStyle/>
          <a:p>
            <a:r>
              <a:rPr lang="en-GB"/>
              <a:t>Approach</a:t>
            </a:r>
            <a:endParaRPr lang="en-CH"/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CBA85B1C-8413-4C7D-98D0-7956747EAB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62B42-AE84-4353-AC08-AE1AF770A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2286001"/>
            <a:ext cx="6015897" cy="3593591"/>
          </a:xfrm>
        </p:spPr>
        <p:txBody>
          <a:bodyPr>
            <a:normAutofit/>
          </a:bodyPr>
          <a:lstStyle/>
          <a:p>
            <a:r>
              <a:rPr lang="en-GB"/>
              <a:t>Replace old manual Excel report</a:t>
            </a:r>
          </a:p>
          <a:p>
            <a:r>
              <a:rPr lang="en-GB"/>
              <a:t>Using Power Bi as a visualization tool and the company has the license for it.</a:t>
            </a:r>
          </a:p>
          <a:p>
            <a:r>
              <a:rPr lang="en-GB"/>
              <a:t>Optimization of SQL</a:t>
            </a:r>
          </a:p>
          <a:p>
            <a:r>
              <a:rPr lang="en-GB"/>
              <a:t>Alignment on Dashboard format/KPI</a:t>
            </a:r>
          </a:p>
          <a:p>
            <a:endParaRPr lang="en-GB"/>
          </a:p>
          <a:p>
            <a:endParaRPr lang="en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36F594-B2B8-4E5D-890D-1152B1B9EB6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7" t="-600" r="37596" b="603"/>
          <a:stretch/>
        </p:blipFill>
        <p:spPr>
          <a:xfrm>
            <a:off x="6249880" y="1874517"/>
            <a:ext cx="5260019" cy="2957002"/>
          </a:xfrm>
          <a:custGeom>
            <a:avLst/>
            <a:gdLst>
              <a:gd name="connsiteX0" fmla="*/ 1930086 w 3860171"/>
              <a:gd name="connsiteY0" fmla="*/ 0 h 3855489"/>
              <a:gd name="connsiteX1" fmla="*/ 1967540 w 3860171"/>
              <a:gd name="connsiteY1" fmla="*/ 3511 h 3855489"/>
              <a:gd name="connsiteX2" fmla="*/ 2003824 w 3860171"/>
              <a:gd name="connsiteY2" fmla="*/ 12875 h 3855489"/>
              <a:gd name="connsiteX3" fmla="*/ 2038938 w 3860171"/>
              <a:gd name="connsiteY3" fmla="*/ 26920 h 3855489"/>
              <a:gd name="connsiteX4" fmla="*/ 2075222 w 3860171"/>
              <a:gd name="connsiteY4" fmla="*/ 44477 h 3855489"/>
              <a:gd name="connsiteX5" fmla="*/ 2109166 w 3860171"/>
              <a:gd name="connsiteY5" fmla="*/ 64375 h 3855489"/>
              <a:gd name="connsiteX6" fmla="*/ 2144279 w 3860171"/>
              <a:gd name="connsiteY6" fmla="*/ 85443 h 3855489"/>
              <a:gd name="connsiteX7" fmla="*/ 2179393 w 3860171"/>
              <a:gd name="connsiteY7" fmla="*/ 104171 h 3855489"/>
              <a:gd name="connsiteX8" fmla="*/ 2214507 w 3860171"/>
              <a:gd name="connsiteY8" fmla="*/ 122898 h 3855489"/>
              <a:gd name="connsiteX9" fmla="*/ 2248450 w 3860171"/>
              <a:gd name="connsiteY9" fmla="*/ 136943 h 3855489"/>
              <a:gd name="connsiteX10" fmla="*/ 2285905 w 3860171"/>
              <a:gd name="connsiteY10" fmla="*/ 146307 h 3855489"/>
              <a:gd name="connsiteX11" fmla="*/ 2322189 w 3860171"/>
              <a:gd name="connsiteY11" fmla="*/ 150989 h 3855489"/>
              <a:gd name="connsiteX12" fmla="*/ 2360814 w 3860171"/>
              <a:gd name="connsiteY12" fmla="*/ 150989 h 3855489"/>
              <a:gd name="connsiteX13" fmla="*/ 2400610 w 3860171"/>
              <a:gd name="connsiteY13" fmla="*/ 148648 h 3855489"/>
              <a:gd name="connsiteX14" fmla="*/ 2440405 w 3860171"/>
              <a:gd name="connsiteY14" fmla="*/ 143966 h 3855489"/>
              <a:gd name="connsiteX15" fmla="*/ 2480201 w 3860171"/>
              <a:gd name="connsiteY15" fmla="*/ 138114 h 3855489"/>
              <a:gd name="connsiteX16" fmla="*/ 2519996 w 3860171"/>
              <a:gd name="connsiteY16" fmla="*/ 133432 h 3855489"/>
              <a:gd name="connsiteX17" fmla="*/ 2559792 w 3860171"/>
              <a:gd name="connsiteY17" fmla="*/ 129921 h 3855489"/>
              <a:gd name="connsiteX18" fmla="*/ 2597247 w 3860171"/>
              <a:gd name="connsiteY18" fmla="*/ 131091 h 3855489"/>
              <a:gd name="connsiteX19" fmla="*/ 2633531 w 3860171"/>
              <a:gd name="connsiteY19" fmla="*/ 135773 h 3855489"/>
              <a:gd name="connsiteX20" fmla="*/ 2668644 w 3860171"/>
              <a:gd name="connsiteY20" fmla="*/ 146307 h 3855489"/>
              <a:gd name="connsiteX21" fmla="*/ 2697906 w 3860171"/>
              <a:gd name="connsiteY21" fmla="*/ 161523 h 3855489"/>
              <a:gd name="connsiteX22" fmla="*/ 2725997 w 3860171"/>
              <a:gd name="connsiteY22" fmla="*/ 181421 h 3855489"/>
              <a:gd name="connsiteX23" fmla="*/ 2750577 w 3860171"/>
              <a:gd name="connsiteY23" fmla="*/ 204830 h 3855489"/>
              <a:gd name="connsiteX24" fmla="*/ 2775156 w 3860171"/>
              <a:gd name="connsiteY24" fmla="*/ 231750 h 3855489"/>
              <a:gd name="connsiteX25" fmla="*/ 2797395 w 3860171"/>
              <a:gd name="connsiteY25" fmla="*/ 259841 h 3855489"/>
              <a:gd name="connsiteX26" fmla="*/ 2819634 w 3860171"/>
              <a:gd name="connsiteY26" fmla="*/ 289103 h 3855489"/>
              <a:gd name="connsiteX27" fmla="*/ 2841872 w 3860171"/>
              <a:gd name="connsiteY27" fmla="*/ 318364 h 3855489"/>
              <a:gd name="connsiteX28" fmla="*/ 2864111 w 3860171"/>
              <a:gd name="connsiteY28" fmla="*/ 346455 h 3855489"/>
              <a:gd name="connsiteX29" fmla="*/ 2887520 w 3860171"/>
              <a:gd name="connsiteY29" fmla="*/ 373376 h 3855489"/>
              <a:gd name="connsiteX30" fmla="*/ 2914441 w 3860171"/>
              <a:gd name="connsiteY30" fmla="*/ 396785 h 3855489"/>
              <a:gd name="connsiteX31" fmla="*/ 2940191 w 3860171"/>
              <a:gd name="connsiteY31" fmla="*/ 417853 h 3855489"/>
              <a:gd name="connsiteX32" fmla="*/ 2969452 w 3860171"/>
              <a:gd name="connsiteY32" fmla="*/ 434240 h 3855489"/>
              <a:gd name="connsiteX33" fmla="*/ 3001055 w 3860171"/>
              <a:gd name="connsiteY33" fmla="*/ 448285 h 3855489"/>
              <a:gd name="connsiteX34" fmla="*/ 3034998 w 3860171"/>
              <a:gd name="connsiteY34" fmla="*/ 459990 h 3855489"/>
              <a:gd name="connsiteX35" fmla="*/ 3070112 w 3860171"/>
              <a:gd name="connsiteY35" fmla="*/ 470524 h 3855489"/>
              <a:gd name="connsiteX36" fmla="*/ 3105226 w 3860171"/>
              <a:gd name="connsiteY36" fmla="*/ 479888 h 3855489"/>
              <a:gd name="connsiteX37" fmla="*/ 3141510 w 3860171"/>
              <a:gd name="connsiteY37" fmla="*/ 489251 h 3855489"/>
              <a:gd name="connsiteX38" fmla="*/ 3175453 w 3860171"/>
              <a:gd name="connsiteY38" fmla="*/ 499785 h 3855489"/>
              <a:gd name="connsiteX39" fmla="*/ 3209396 w 3860171"/>
              <a:gd name="connsiteY39" fmla="*/ 511490 h 3855489"/>
              <a:gd name="connsiteX40" fmla="*/ 3240999 w 3860171"/>
              <a:gd name="connsiteY40" fmla="*/ 525535 h 3855489"/>
              <a:gd name="connsiteX41" fmla="*/ 3269090 w 3860171"/>
              <a:gd name="connsiteY41" fmla="*/ 543092 h 3855489"/>
              <a:gd name="connsiteX42" fmla="*/ 3294840 w 3860171"/>
              <a:gd name="connsiteY42" fmla="*/ 564161 h 3855489"/>
              <a:gd name="connsiteX43" fmla="*/ 3315908 w 3860171"/>
              <a:gd name="connsiteY43" fmla="*/ 589911 h 3855489"/>
              <a:gd name="connsiteX44" fmla="*/ 3333465 w 3860171"/>
              <a:gd name="connsiteY44" fmla="*/ 618002 h 3855489"/>
              <a:gd name="connsiteX45" fmla="*/ 3347510 w 3860171"/>
              <a:gd name="connsiteY45" fmla="*/ 649604 h 3855489"/>
              <a:gd name="connsiteX46" fmla="*/ 3359215 w 3860171"/>
              <a:gd name="connsiteY46" fmla="*/ 683547 h 3855489"/>
              <a:gd name="connsiteX47" fmla="*/ 3369749 w 3860171"/>
              <a:gd name="connsiteY47" fmla="*/ 717491 h 3855489"/>
              <a:gd name="connsiteX48" fmla="*/ 3379113 w 3860171"/>
              <a:gd name="connsiteY48" fmla="*/ 753775 h 3855489"/>
              <a:gd name="connsiteX49" fmla="*/ 3388476 w 3860171"/>
              <a:gd name="connsiteY49" fmla="*/ 788889 h 3855489"/>
              <a:gd name="connsiteX50" fmla="*/ 3399010 w 3860171"/>
              <a:gd name="connsiteY50" fmla="*/ 824002 h 3855489"/>
              <a:gd name="connsiteX51" fmla="*/ 3410715 w 3860171"/>
              <a:gd name="connsiteY51" fmla="*/ 857946 h 3855489"/>
              <a:gd name="connsiteX52" fmla="*/ 3424760 w 3860171"/>
              <a:gd name="connsiteY52" fmla="*/ 889548 h 3855489"/>
              <a:gd name="connsiteX53" fmla="*/ 3441147 w 3860171"/>
              <a:gd name="connsiteY53" fmla="*/ 918809 h 3855489"/>
              <a:gd name="connsiteX54" fmla="*/ 3462215 w 3860171"/>
              <a:gd name="connsiteY54" fmla="*/ 944560 h 3855489"/>
              <a:gd name="connsiteX55" fmla="*/ 3485624 w 3860171"/>
              <a:gd name="connsiteY55" fmla="*/ 971480 h 3855489"/>
              <a:gd name="connsiteX56" fmla="*/ 3512545 w 3860171"/>
              <a:gd name="connsiteY56" fmla="*/ 994889 h 3855489"/>
              <a:gd name="connsiteX57" fmla="*/ 3540636 w 3860171"/>
              <a:gd name="connsiteY57" fmla="*/ 1017128 h 3855489"/>
              <a:gd name="connsiteX58" fmla="*/ 3571068 w 3860171"/>
              <a:gd name="connsiteY58" fmla="*/ 1039367 h 3855489"/>
              <a:gd name="connsiteX59" fmla="*/ 3600329 w 3860171"/>
              <a:gd name="connsiteY59" fmla="*/ 1061605 h 3855489"/>
              <a:gd name="connsiteX60" fmla="*/ 3628420 w 3860171"/>
              <a:gd name="connsiteY60" fmla="*/ 1083844 h 3855489"/>
              <a:gd name="connsiteX61" fmla="*/ 3655341 w 3860171"/>
              <a:gd name="connsiteY61" fmla="*/ 1108424 h 3855489"/>
              <a:gd name="connsiteX62" fmla="*/ 3678750 w 3860171"/>
              <a:gd name="connsiteY62" fmla="*/ 1133003 h 3855489"/>
              <a:gd name="connsiteX63" fmla="*/ 3698648 w 3860171"/>
              <a:gd name="connsiteY63" fmla="*/ 1161094 h 3855489"/>
              <a:gd name="connsiteX64" fmla="*/ 3713864 w 3860171"/>
              <a:gd name="connsiteY64" fmla="*/ 1190356 h 3855489"/>
              <a:gd name="connsiteX65" fmla="*/ 3724398 w 3860171"/>
              <a:gd name="connsiteY65" fmla="*/ 1225469 h 3855489"/>
              <a:gd name="connsiteX66" fmla="*/ 3729080 w 3860171"/>
              <a:gd name="connsiteY66" fmla="*/ 1261754 h 3855489"/>
              <a:gd name="connsiteX67" fmla="*/ 3730250 w 3860171"/>
              <a:gd name="connsiteY67" fmla="*/ 1299208 h 3855489"/>
              <a:gd name="connsiteX68" fmla="*/ 3726739 w 3860171"/>
              <a:gd name="connsiteY68" fmla="*/ 1339004 h 3855489"/>
              <a:gd name="connsiteX69" fmla="*/ 3722057 w 3860171"/>
              <a:gd name="connsiteY69" fmla="*/ 1378799 h 3855489"/>
              <a:gd name="connsiteX70" fmla="*/ 3716205 w 3860171"/>
              <a:gd name="connsiteY70" fmla="*/ 1418595 h 3855489"/>
              <a:gd name="connsiteX71" fmla="*/ 3711523 w 3860171"/>
              <a:gd name="connsiteY71" fmla="*/ 1458391 h 3855489"/>
              <a:gd name="connsiteX72" fmla="*/ 3709182 w 3860171"/>
              <a:gd name="connsiteY72" fmla="*/ 1498186 h 3855489"/>
              <a:gd name="connsiteX73" fmla="*/ 3709182 w 3860171"/>
              <a:gd name="connsiteY73" fmla="*/ 1536811 h 3855489"/>
              <a:gd name="connsiteX74" fmla="*/ 3713864 w 3860171"/>
              <a:gd name="connsiteY74" fmla="*/ 1573096 h 3855489"/>
              <a:gd name="connsiteX75" fmla="*/ 3723228 w 3860171"/>
              <a:gd name="connsiteY75" fmla="*/ 1609380 h 3855489"/>
              <a:gd name="connsiteX76" fmla="*/ 3737273 w 3860171"/>
              <a:gd name="connsiteY76" fmla="*/ 1643323 h 3855489"/>
              <a:gd name="connsiteX77" fmla="*/ 3756000 w 3860171"/>
              <a:gd name="connsiteY77" fmla="*/ 1678437 h 3855489"/>
              <a:gd name="connsiteX78" fmla="*/ 3774728 w 3860171"/>
              <a:gd name="connsiteY78" fmla="*/ 1713550 h 3855489"/>
              <a:gd name="connsiteX79" fmla="*/ 3795796 w 3860171"/>
              <a:gd name="connsiteY79" fmla="*/ 1748664 h 3855489"/>
              <a:gd name="connsiteX80" fmla="*/ 3815694 w 3860171"/>
              <a:gd name="connsiteY80" fmla="*/ 1782608 h 3855489"/>
              <a:gd name="connsiteX81" fmla="*/ 3833250 w 3860171"/>
              <a:gd name="connsiteY81" fmla="*/ 1818892 h 3855489"/>
              <a:gd name="connsiteX82" fmla="*/ 3847296 w 3860171"/>
              <a:gd name="connsiteY82" fmla="*/ 1854005 h 3855489"/>
              <a:gd name="connsiteX83" fmla="*/ 3856660 w 3860171"/>
              <a:gd name="connsiteY83" fmla="*/ 1890290 h 3855489"/>
              <a:gd name="connsiteX84" fmla="*/ 3860171 w 3860171"/>
              <a:gd name="connsiteY84" fmla="*/ 1927744 h 3855489"/>
              <a:gd name="connsiteX85" fmla="*/ 3856660 w 3860171"/>
              <a:gd name="connsiteY85" fmla="*/ 1965199 h 3855489"/>
              <a:gd name="connsiteX86" fmla="*/ 3847296 w 3860171"/>
              <a:gd name="connsiteY86" fmla="*/ 2001483 h 3855489"/>
              <a:gd name="connsiteX87" fmla="*/ 3833250 w 3860171"/>
              <a:gd name="connsiteY87" fmla="*/ 2036597 h 3855489"/>
              <a:gd name="connsiteX88" fmla="*/ 3815694 w 3860171"/>
              <a:gd name="connsiteY88" fmla="*/ 2072881 h 3855489"/>
              <a:gd name="connsiteX89" fmla="*/ 3795796 w 3860171"/>
              <a:gd name="connsiteY89" fmla="*/ 2106824 h 3855489"/>
              <a:gd name="connsiteX90" fmla="*/ 3774728 w 3860171"/>
              <a:gd name="connsiteY90" fmla="*/ 2141938 h 3855489"/>
              <a:gd name="connsiteX91" fmla="*/ 3756000 w 3860171"/>
              <a:gd name="connsiteY91" fmla="*/ 2177052 h 3855489"/>
              <a:gd name="connsiteX92" fmla="*/ 3737273 w 3860171"/>
              <a:gd name="connsiteY92" fmla="*/ 2212166 h 3855489"/>
              <a:gd name="connsiteX93" fmla="*/ 3723228 w 3860171"/>
              <a:gd name="connsiteY93" fmla="*/ 2246109 h 3855489"/>
              <a:gd name="connsiteX94" fmla="*/ 3713864 w 3860171"/>
              <a:gd name="connsiteY94" fmla="*/ 2282393 h 3855489"/>
              <a:gd name="connsiteX95" fmla="*/ 3709182 w 3860171"/>
              <a:gd name="connsiteY95" fmla="*/ 2318677 h 3855489"/>
              <a:gd name="connsiteX96" fmla="*/ 3709182 w 3860171"/>
              <a:gd name="connsiteY96" fmla="*/ 2357302 h 3855489"/>
              <a:gd name="connsiteX97" fmla="*/ 3711523 w 3860171"/>
              <a:gd name="connsiteY97" fmla="*/ 2397098 h 3855489"/>
              <a:gd name="connsiteX98" fmla="*/ 3716205 w 3860171"/>
              <a:gd name="connsiteY98" fmla="*/ 2436894 h 3855489"/>
              <a:gd name="connsiteX99" fmla="*/ 3722057 w 3860171"/>
              <a:gd name="connsiteY99" fmla="*/ 2476689 h 3855489"/>
              <a:gd name="connsiteX100" fmla="*/ 3726739 w 3860171"/>
              <a:gd name="connsiteY100" fmla="*/ 2516485 h 3855489"/>
              <a:gd name="connsiteX101" fmla="*/ 3730250 w 3860171"/>
              <a:gd name="connsiteY101" fmla="*/ 2556280 h 3855489"/>
              <a:gd name="connsiteX102" fmla="*/ 3729080 w 3860171"/>
              <a:gd name="connsiteY102" fmla="*/ 2593735 h 3855489"/>
              <a:gd name="connsiteX103" fmla="*/ 3724398 w 3860171"/>
              <a:gd name="connsiteY103" fmla="*/ 2630019 h 3855489"/>
              <a:gd name="connsiteX104" fmla="*/ 3713864 w 3860171"/>
              <a:gd name="connsiteY104" fmla="*/ 2665133 h 3855489"/>
              <a:gd name="connsiteX105" fmla="*/ 3698648 w 3860171"/>
              <a:gd name="connsiteY105" fmla="*/ 2694394 h 3855489"/>
              <a:gd name="connsiteX106" fmla="*/ 3678750 w 3860171"/>
              <a:gd name="connsiteY106" fmla="*/ 2722485 h 3855489"/>
              <a:gd name="connsiteX107" fmla="*/ 3655341 w 3860171"/>
              <a:gd name="connsiteY107" fmla="*/ 2747065 h 3855489"/>
              <a:gd name="connsiteX108" fmla="*/ 3628420 w 3860171"/>
              <a:gd name="connsiteY108" fmla="*/ 2771645 h 3855489"/>
              <a:gd name="connsiteX109" fmla="*/ 3600329 w 3860171"/>
              <a:gd name="connsiteY109" fmla="*/ 2793883 h 3855489"/>
              <a:gd name="connsiteX110" fmla="*/ 3571068 w 3860171"/>
              <a:gd name="connsiteY110" fmla="*/ 2816122 h 3855489"/>
              <a:gd name="connsiteX111" fmla="*/ 3540636 w 3860171"/>
              <a:gd name="connsiteY111" fmla="*/ 2838361 h 3855489"/>
              <a:gd name="connsiteX112" fmla="*/ 3512545 w 3860171"/>
              <a:gd name="connsiteY112" fmla="*/ 2860599 h 3855489"/>
              <a:gd name="connsiteX113" fmla="*/ 3485624 w 3860171"/>
              <a:gd name="connsiteY113" fmla="*/ 2884009 h 3855489"/>
              <a:gd name="connsiteX114" fmla="*/ 3462215 w 3860171"/>
              <a:gd name="connsiteY114" fmla="*/ 2910929 h 3855489"/>
              <a:gd name="connsiteX115" fmla="*/ 3441147 w 3860171"/>
              <a:gd name="connsiteY115" fmla="*/ 2936679 h 3855489"/>
              <a:gd name="connsiteX116" fmla="*/ 3424760 w 3860171"/>
              <a:gd name="connsiteY116" fmla="*/ 2965941 h 3855489"/>
              <a:gd name="connsiteX117" fmla="*/ 3410715 w 3860171"/>
              <a:gd name="connsiteY117" fmla="*/ 2997543 h 3855489"/>
              <a:gd name="connsiteX118" fmla="*/ 3399010 w 3860171"/>
              <a:gd name="connsiteY118" fmla="*/ 3031486 h 3855489"/>
              <a:gd name="connsiteX119" fmla="*/ 3388476 w 3860171"/>
              <a:gd name="connsiteY119" fmla="*/ 3066600 h 3855489"/>
              <a:gd name="connsiteX120" fmla="*/ 3379113 w 3860171"/>
              <a:gd name="connsiteY120" fmla="*/ 3101714 h 3855489"/>
              <a:gd name="connsiteX121" fmla="*/ 3369749 w 3860171"/>
              <a:gd name="connsiteY121" fmla="*/ 3137998 h 3855489"/>
              <a:gd name="connsiteX122" fmla="*/ 3359215 w 3860171"/>
              <a:gd name="connsiteY122" fmla="*/ 3171941 h 3855489"/>
              <a:gd name="connsiteX123" fmla="*/ 3347510 w 3860171"/>
              <a:gd name="connsiteY123" fmla="*/ 3205885 h 3855489"/>
              <a:gd name="connsiteX124" fmla="*/ 3333465 w 3860171"/>
              <a:gd name="connsiteY124" fmla="*/ 3237487 h 3855489"/>
              <a:gd name="connsiteX125" fmla="*/ 3315908 w 3860171"/>
              <a:gd name="connsiteY125" fmla="*/ 3265578 h 3855489"/>
              <a:gd name="connsiteX126" fmla="*/ 3294840 w 3860171"/>
              <a:gd name="connsiteY126" fmla="*/ 3291328 h 3855489"/>
              <a:gd name="connsiteX127" fmla="*/ 3269090 w 3860171"/>
              <a:gd name="connsiteY127" fmla="*/ 3312396 h 3855489"/>
              <a:gd name="connsiteX128" fmla="*/ 3240999 w 3860171"/>
              <a:gd name="connsiteY128" fmla="*/ 3329953 h 3855489"/>
              <a:gd name="connsiteX129" fmla="*/ 3209396 w 3860171"/>
              <a:gd name="connsiteY129" fmla="*/ 3343999 h 3855489"/>
              <a:gd name="connsiteX130" fmla="*/ 3175453 w 3860171"/>
              <a:gd name="connsiteY130" fmla="*/ 3355703 h 3855489"/>
              <a:gd name="connsiteX131" fmla="*/ 3141510 w 3860171"/>
              <a:gd name="connsiteY131" fmla="*/ 3366237 h 3855489"/>
              <a:gd name="connsiteX132" fmla="*/ 3105226 w 3860171"/>
              <a:gd name="connsiteY132" fmla="*/ 3375601 h 3855489"/>
              <a:gd name="connsiteX133" fmla="*/ 3070112 w 3860171"/>
              <a:gd name="connsiteY133" fmla="*/ 3384965 h 3855489"/>
              <a:gd name="connsiteX134" fmla="*/ 3034998 w 3860171"/>
              <a:gd name="connsiteY134" fmla="*/ 3395499 h 3855489"/>
              <a:gd name="connsiteX135" fmla="*/ 3001055 w 3860171"/>
              <a:gd name="connsiteY135" fmla="*/ 3407203 h 3855489"/>
              <a:gd name="connsiteX136" fmla="*/ 2969452 w 3860171"/>
              <a:gd name="connsiteY136" fmla="*/ 3421249 h 3855489"/>
              <a:gd name="connsiteX137" fmla="*/ 2940191 w 3860171"/>
              <a:gd name="connsiteY137" fmla="*/ 3437635 h 3855489"/>
              <a:gd name="connsiteX138" fmla="*/ 2914441 w 3860171"/>
              <a:gd name="connsiteY138" fmla="*/ 3458704 h 3855489"/>
              <a:gd name="connsiteX139" fmla="*/ 2887520 w 3860171"/>
              <a:gd name="connsiteY139" fmla="*/ 3482113 h 3855489"/>
              <a:gd name="connsiteX140" fmla="*/ 2864111 w 3860171"/>
              <a:gd name="connsiteY140" fmla="*/ 3509033 h 3855489"/>
              <a:gd name="connsiteX141" fmla="*/ 2841872 w 3860171"/>
              <a:gd name="connsiteY141" fmla="*/ 3537124 h 3855489"/>
              <a:gd name="connsiteX142" fmla="*/ 2819634 w 3860171"/>
              <a:gd name="connsiteY142" fmla="*/ 3566386 h 3855489"/>
              <a:gd name="connsiteX143" fmla="*/ 2797395 w 3860171"/>
              <a:gd name="connsiteY143" fmla="*/ 3595647 h 3855489"/>
              <a:gd name="connsiteX144" fmla="*/ 2775156 w 3860171"/>
              <a:gd name="connsiteY144" fmla="*/ 3623738 h 3855489"/>
              <a:gd name="connsiteX145" fmla="*/ 2750577 w 3860171"/>
              <a:gd name="connsiteY145" fmla="*/ 3650659 h 3855489"/>
              <a:gd name="connsiteX146" fmla="*/ 2725997 w 3860171"/>
              <a:gd name="connsiteY146" fmla="*/ 3674068 h 3855489"/>
              <a:gd name="connsiteX147" fmla="*/ 2697906 w 3860171"/>
              <a:gd name="connsiteY147" fmla="*/ 3693966 h 3855489"/>
              <a:gd name="connsiteX148" fmla="*/ 2668644 w 3860171"/>
              <a:gd name="connsiteY148" fmla="*/ 3709182 h 3855489"/>
              <a:gd name="connsiteX149" fmla="*/ 2633531 w 3860171"/>
              <a:gd name="connsiteY149" fmla="*/ 3719716 h 3855489"/>
              <a:gd name="connsiteX150" fmla="*/ 2597247 w 3860171"/>
              <a:gd name="connsiteY150" fmla="*/ 3724398 h 3855489"/>
              <a:gd name="connsiteX151" fmla="*/ 2559792 w 3860171"/>
              <a:gd name="connsiteY151" fmla="*/ 3725568 h 3855489"/>
              <a:gd name="connsiteX152" fmla="*/ 2519996 w 3860171"/>
              <a:gd name="connsiteY152" fmla="*/ 3722057 h 3855489"/>
              <a:gd name="connsiteX153" fmla="*/ 2480201 w 3860171"/>
              <a:gd name="connsiteY153" fmla="*/ 3717375 h 3855489"/>
              <a:gd name="connsiteX154" fmla="*/ 2440405 w 3860171"/>
              <a:gd name="connsiteY154" fmla="*/ 3711523 h 3855489"/>
              <a:gd name="connsiteX155" fmla="*/ 2400610 w 3860171"/>
              <a:gd name="connsiteY155" fmla="*/ 3706841 h 3855489"/>
              <a:gd name="connsiteX156" fmla="*/ 2360814 w 3860171"/>
              <a:gd name="connsiteY156" fmla="*/ 3704500 h 3855489"/>
              <a:gd name="connsiteX157" fmla="*/ 2322189 w 3860171"/>
              <a:gd name="connsiteY157" fmla="*/ 3704500 h 3855489"/>
              <a:gd name="connsiteX158" fmla="*/ 2285905 w 3860171"/>
              <a:gd name="connsiteY158" fmla="*/ 3709182 h 3855489"/>
              <a:gd name="connsiteX159" fmla="*/ 2248450 w 3860171"/>
              <a:gd name="connsiteY159" fmla="*/ 3718545 h 3855489"/>
              <a:gd name="connsiteX160" fmla="*/ 2214507 w 3860171"/>
              <a:gd name="connsiteY160" fmla="*/ 3732591 h 3855489"/>
              <a:gd name="connsiteX161" fmla="*/ 2179393 w 3860171"/>
              <a:gd name="connsiteY161" fmla="*/ 3751318 h 3855489"/>
              <a:gd name="connsiteX162" fmla="*/ 2144279 w 3860171"/>
              <a:gd name="connsiteY162" fmla="*/ 3770045 h 3855489"/>
              <a:gd name="connsiteX163" fmla="*/ 2109166 w 3860171"/>
              <a:gd name="connsiteY163" fmla="*/ 3791114 h 3855489"/>
              <a:gd name="connsiteX164" fmla="*/ 2075222 w 3860171"/>
              <a:gd name="connsiteY164" fmla="*/ 3811011 h 3855489"/>
              <a:gd name="connsiteX165" fmla="*/ 2038938 w 3860171"/>
              <a:gd name="connsiteY165" fmla="*/ 3828568 h 3855489"/>
              <a:gd name="connsiteX166" fmla="*/ 2003824 w 3860171"/>
              <a:gd name="connsiteY166" fmla="*/ 3842614 h 3855489"/>
              <a:gd name="connsiteX167" fmla="*/ 1967540 w 3860171"/>
              <a:gd name="connsiteY167" fmla="*/ 3851978 h 3855489"/>
              <a:gd name="connsiteX168" fmla="*/ 1930086 w 3860171"/>
              <a:gd name="connsiteY168" fmla="*/ 3855489 h 3855489"/>
              <a:gd name="connsiteX169" fmla="*/ 1892631 w 3860171"/>
              <a:gd name="connsiteY169" fmla="*/ 3851978 h 3855489"/>
              <a:gd name="connsiteX170" fmla="*/ 1856347 w 3860171"/>
              <a:gd name="connsiteY170" fmla="*/ 3842614 h 3855489"/>
              <a:gd name="connsiteX171" fmla="*/ 1821233 w 3860171"/>
              <a:gd name="connsiteY171" fmla="*/ 3828568 h 3855489"/>
              <a:gd name="connsiteX172" fmla="*/ 1784949 w 3860171"/>
              <a:gd name="connsiteY172" fmla="*/ 3811011 h 3855489"/>
              <a:gd name="connsiteX173" fmla="*/ 1751005 w 3860171"/>
              <a:gd name="connsiteY173" fmla="*/ 3791114 h 3855489"/>
              <a:gd name="connsiteX174" fmla="*/ 1715892 w 3860171"/>
              <a:gd name="connsiteY174" fmla="*/ 3770045 h 3855489"/>
              <a:gd name="connsiteX175" fmla="*/ 1680778 w 3860171"/>
              <a:gd name="connsiteY175" fmla="*/ 3751318 h 3855489"/>
              <a:gd name="connsiteX176" fmla="*/ 1645664 w 3860171"/>
              <a:gd name="connsiteY176" fmla="*/ 3732591 h 3855489"/>
              <a:gd name="connsiteX177" fmla="*/ 1610550 w 3860171"/>
              <a:gd name="connsiteY177" fmla="*/ 3718545 h 3855489"/>
              <a:gd name="connsiteX178" fmla="*/ 1574266 w 3860171"/>
              <a:gd name="connsiteY178" fmla="*/ 3709182 h 3855489"/>
              <a:gd name="connsiteX179" fmla="*/ 1537982 w 3860171"/>
              <a:gd name="connsiteY179" fmla="*/ 3704500 h 3855489"/>
              <a:gd name="connsiteX180" fmla="*/ 1499357 w 3860171"/>
              <a:gd name="connsiteY180" fmla="*/ 3704500 h 3855489"/>
              <a:gd name="connsiteX181" fmla="*/ 1459561 w 3860171"/>
              <a:gd name="connsiteY181" fmla="*/ 3706841 h 3855489"/>
              <a:gd name="connsiteX182" fmla="*/ 1419766 w 3860171"/>
              <a:gd name="connsiteY182" fmla="*/ 3711523 h 3855489"/>
              <a:gd name="connsiteX183" fmla="*/ 1379970 w 3860171"/>
              <a:gd name="connsiteY183" fmla="*/ 3717375 h 3855489"/>
              <a:gd name="connsiteX184" fmla="*/ 1340175 w 3860171"/>
              <a:gd name="connsiteY184" fmla="*/ 3722057 h 3855489"/>
              <a:gd name="connsiteX185" fmla="*/ 1300379 w 3860171"/>
              <a:gd name="connsiteY185" fmla="*/ 3725568 h 3855489"/>
              <a:gd name="connsiteX186" fmla="*/ 1262924 w 3860171"/>
              <a:gd name="connsiteY186" fmla="*/ 3724398 h 3855489"/>
              <a:gd name="connsiteX187" fmla="*/ 1226640 w 3860171"/>
              <a:gd name="connsiteY187" fmla="*/ 3719716 h 3855489"/>
              <a:gd name="connsiteX188" fmla="*/ 1191526 w 3860171"/>
              <a:gd name="connsiteY188" fmla="*/ 3709182 h 3855489"/>
              <a:gd name="connsiteX189" fmla="*/ 1162265 w 3860171"/>
              <a:gd name="connsiteY189" fmla="*/ 3693966 h 3855489"/>
              <a:gd name="connsiteX190" fmla="*/ 1134174 w 3860171"/>
              <a:gd name="connsiteY190" fmla="*/ 3674068 h 3855489"/>
              <a:gd name="connsiteX191" fmla="*/ 1109594 w 3860171"/>
              <a:gd name="connsiteY191" fmla="*/ 3650659 h 3855489"/>
              <a:gd name="connsiteX192" fmla="*/ 1085015 w 3860171"/>
              <a:gd name="connsiteY192" fmla="*/ 3623738 h 3855489"/>
              <a:gd name="connsiteX193" fmla="*/ 1062776 w 3860171"/>
              <a:gd name="connsiteY193" fmla="*/ 3595647 h 3855489"/>
              <a:gd name="connsiteX194" fmla="*/ 1040537 w 3860171"/>
              <a:gd name="connsiteY194" fmla="*/ 3566386 h 3855489"/>
              <a:gd name="connsiteX195" fmla="*/ 1018299 w 3860171"/>
              <a:gd name="connsiteY195" fmla="*/ 3537124 h 3855489"/>
              <a:gd name="connsiteX196" fmla="*/ 996060 w 3860171"/>
              <a:gd name="connsiteY196" fmla="*/ 3509033 h 3855489"/>
              <a:gd name="connsiteX197" fmla="*/ 972651 w 3860171"/>
              <a:gd name="connsiteY197" fmla="*/ 3482113 h 3855489"/>
              <a:gd name="connsiteX198" fmla="*/ 945730 w 3860171"/>
              <a:gd name="connsiteY198" fmla="*/ 3458704 h 3855489"/>
              <a:gd name="connsiteX199" fmla="*/ 919980 w 3860171"/>
              <a:gd name="connsiteY199" fmla="*/ 3437635 h 3855489"/>
              <a:gd name="connsiteX200" fmla="*/ 890719 w 3860171"/>
              <a:gd name="connsiteY200" fmla="*/ 3421249 h 3855489"/>
              <a:gd name="connsiteX201" fmla="*/ 859116 w 3860171"/>
              <a:gd name="connsiteY201" fmla="*/ 3407203 h 3855489"/>
              <a:gd name="connsiteX202" fmla="*/ 825173 w 3860171"/>
              <a:gd name="connsiteY202" fmla="*/ 3395499 h 3855489"/>
              <a:gd name="connsiteX203" fmla="*/ 790059 w 3860171"/>
              <a:gd name="connsiteY203" fmla="*/ 3384965 h 3855489"/>
              <a:gd name="connsiteX204" fmla="*/ 754946 w 3860171"/>
              <a:gd name="connsiteY204" fmla="*/ 3375601 h 3855489"/>
              <a:gd name="connsiteX205" fmla="*/ 718662 w 3860171"/>
              <a:gd name="connsiteY205" fmla="*/ 3366237 h 3855489"/>
              <a:gd name="connsiteX206" fmla="*/ 684718 w 3860171"/>
              <a:gd name="connsiteY206" fmla="*/ 3355703 h 3855489"/>
              <a:gd name="connsiteX207" fmla="*/ 650775 w 3860171"/>
              <a:gd name="connsiteY207" fmla="*/ 3343999 h 3855489"/>
              <a:gd name="connsiteX208" fmla="*/ 619173 w 3860171"/>
              <a:gd name="connsiteY208" fmla="*/ 3329953 h 3855489"/>
              <a:gd name="connsiteX209" fmla="*/ 591082 w 3860171"/>
              <a:gd name="connsiteY209" fmla="*/ 3312396 h 3855489"/>
              <a:gd name="connsiteX210" fmla="*/ 565332 w 3860171"/>
              <a:gd name="connsiteY210" fmla="*/ 3291328 h 3855489"/>
              <a:gd name="connsiteX211" fmla="*/ 544263 w 3860171"/>
              <a:gd name="connsiteY211" fmla="*/ 3265578 h 3855489"/>
              <a:gd name="connsiteX212" fmla="*/ 526706 w 3860171"/>
              <a:gd name="connsiteY212" fmla="*/ 3237487 h 3855489"/>
              <a:gd name="connsiteX213" fmla="*/ 512661 w 3860171"/>
              <a:gd name="connsiteY213" fmla="*/ 3205885 h 3855489"/>
              <a:gd name="connsiteX214" fmla="*/ 500956 w 3860171"/>
              <a:gd name="connsiteY214" fmla="*/ 3171941 h 3855489"/>
              <a:gd name="connsiteX215" fmla="*/ 490422 w 3860171"/>
              <a:gd name="connsiteY215" fmla="*/ 3137998 h 3855489"/>
              <a:gd name="connsiteX216" fmla="*/ 481059 w 3860171"/>
              <a:gd name="connsiteY216" fmla="*/ 3101714 h 3855489"/>
              <a:gd name="connsiteX217" fmla="*/ 471695 w 3860171"/>
              <a:gd name="connsiteY217" fmla="*/ 3066600 h 3855489"/>
              <a:gd name="connsiteX218" fmla="*/ 461161 w 3860171"/>
              <a:gd name="connsiteY218" fmla="*/ 3031486 h 3855489"/>
              <a:gd name="connsiteX219" fmla="*/ 449456 w 3860171"/>
              <a:gd name="connsiteY219" fmla="*/ 2997543 h 3855489"/>
              <a:gd name="connsiteX220" fmla="*/ 435411 w 3860171"/>
              <a:gd name="connsiteY220" fmla="*/ 2965941 h 3855489"/>
              <a:gd name="connsiteX221" fmla="*/ 419024 w 3860171"/>
              <a:gd name="connsiteY221" fmla="*/ 2936679 h 3855489"/>
              <a:gd name="connsiteX222" fmla="*/ 397956 w 3860171"/>
              <a:gd name="connsiteY222" fmla="*/ 2910929 h 3855489"/>
              <a:gd name="connsiteX223" fmla="*/ 374547 w 3860171"/>
              <a:gd name="connsiteY223" fmla="*/ 2884009 h 3855489"/>
              <a:gd name="connsiteX224" fmla="*/ 347626 w 3860171"/>
              <a:gd name="connsiteY224" fmla="*/ 2860599 h 3855489"/>
              <a:gd name="connsiteX225" fmla="*/ 318365 w 3860171"/>
              <a:gd name="connsiteY225" fmla="*/ 2838361 h 3855489"/>
              <a:gd name="connsiteX226" fmla="*/ 289103 w 3860171"/>
              <a:gd name="connsiteY226" fmla="*/ 2816122 h 3855489"/>
              <a:gd name="connsiteX227" fmla="*/ 259842 w 3860171"/>
              <a:gd name="connsiteY227" fmla="*/ 2793883 h 3855489"/>
              <a:gd name="connsiteX228" fmla="*/ 231751 w 3860171"/>
              <a:gd name="connsiteY228" fmla="*/ 2771645 h 3855489"/>
              <a:gd name="connsiteX229" fmla="*/ 204830 w 3860171"/>
              <a:gd name="connsiteY229" fmla="*/ 2747065 h 3855489"/>
              <a:gd name="connsiteX230" fmla="*/ 181421 w 3860171"/>
              <a:gd name="connsiteY230" fmla="*/ 2722485 h 3855489"/>
              <a:gd name="connsiteX231" fmla="*/ 161523 w 3860171"/>
              <a:gd name="connsiteY231" fmla="*/ 2694394 h 3855489"/>
              <a:gd name="connsiteX232" fmla="*/ 146308 w 3860171"/>
              <a:gd name="connsiteY232" fmla="*/ 2665133 h 3855489"/>
              <a:gd name="connsiteX233" fmla="*/ 135773 w 3860171"/>
              <a:gd name="connsiteY233" fmla="*/ 2630019 h 3855489"/>
              <a:gd name="connsiteX234" fmla="*/ 131092 w 3860171"/>
              <a:gd name="connsiteY234" fmla="*/ 2593735 h 3855489"/>
              <a:gd name="connsiteX235" fmla="*/ 129921 w 3860171"/>
              <a:gd name="connsiteY235" fmla="*/ 2556280 h 3855489"/>
              <a:gd name="connsiteX236" fmla="*/ 133432 w 3860171"/>
              <a:gd name="connsiteY236" fmla="*/ 2516485 h 3855489"/>
              <a:gd name="connsiteX237" fmla="*/ 138114 w 3860171"/>
              <a:gd name="connsiteY237" fmla="*/ 2476689 h 3855489"/>
              <a:gd name="connsiteX238" fmla="*/ 143967 w 3860171"/>
              <a:gd name="connsiteY238" fmla="*/ 2436894 h 3855489"/>
              <a:gd name="connsiteX239" fmla="*/ 148648 w 3860171"/>
              <a:gd name="connsiteY239" fmla="*/ 2397098 h 3855489"/>
              <a:gd name="connsiteX240" fmla="*/ 150989 w 3860171"/>
              <a:gd name="connsiteY240" fmla="*/ 2357302 h 3855489"/>
              <a:gd name="connsiteX241" fmla="*/ 150989 w 3860171"/>
              <a:gd name="connsiteY241" fmla="*/ 2318677 h 3855489"/>
              <a:gd name="connsiteX242" fmla="*/ 146308 w 3860171"/>
              <a:gd name="connsiteY242" fmla="*/ 2282393 h 3855489"/>
              <a:gd name="connsiteX243" fmla="*/ 136944 w 3860171"/>
              <a:gd name="connsiteY243" fmla="*/ 2246109 h 3855489"/>
              <a:gd name="connsiteX244" fmla="*/ 122898 w 3860171"/>
              <a:gd name="connsiteY244" fmla="*/ 2212166 h 3855489"/>
              <a:gd name="connsiteX245" fmla="*/ 105341 w 3860171"/>
              <a:gd name="connsiteY245" fmla="*/ 2177052 h 3855489"/>
              <a:gd name="connsiteX246" fmla="*/ 85444 w 3860171"/>
              <a:gd name="connsiteY246" fmla="*/ 2141938 h 3855489"/>
              <a:gd name="connsiteX247" fmla="*/ 64375 w 3860171"/>
              <a:gd name="connsiteY247" fmla="*/ 2106824 h 3855489"/>
              <a:gd name="connsiteX248" fmla="*/ 44478 w 3860171"/>
              <a:gd name="connsiteY248" fmla="*/ 2072881 h 3855489"/>
              <a:gd name="connsiteX249" fmla="*/ 26921 w 3860171"/>
              <a:gd name="connsiteY249" fmla="*/ 2036597 h 3855489"/>
              <a:gd name="connsiteX250" fmla="*/ 12875 w 3860171"/>
              <a:gd name="connsiteY250" fmla="*/ 2001483 h 3855489"/>
              <a:gd name="connsiteX251" fmla="*/ 3512 w 3860171"/>
              <a:gd name="connsiteY251" fmla="*/ 1965199 h 3855489"/>
              <a:gd name="connsiteX252" fmla="*/ 0 w 3860171"/>
              <a:gd name="connsiteY252" fmla="*/ 1927744 h 3855489"/>
              <a:gd name="connsiteX253" fmla="*/ 3512 w 3860171"/>
              <a:gd name="connsiteY253" fmla="*/ 1890290 h 3855489"/>
              <a:gd name="connsiteX254" fmla="*/ 12875 w 3860171"/>
              <a:gd name="connsiteY254" fmla="*/ 1854005 h 3855489"/>
              <a:gd name="connsiteX255" fmla="*/ 26921 w 3860171"/>
              <a:gd name="connsiteY255" fmla="*/ 1818892 h 3855489"/>
              <a:gd name="connsiteX256" fmla="*/ 44478 w 3860171"/>
              <a:gd name="connsiteY256" fmla="*/ 1782608 h 3855489"/>
              <a:gd name="connsiteX257" fmla="*/ 64375 w 3860171"/>
              <a:gd name="connsiteY257" fmla="*/ 1748664 h 3855489"/>
              <a:gd name="connsiteX258" fmla="*/ 85444 w 3860171"/>
              <a:gd name="connsiteY258" fmla="*/ 1713550 h 3855489"/>
              <a:gd name="connsiteX259" fmla="*/ 105341 w 3860171"/>
              <a:gd name="connsiteY259" fmla="*/ 1678437 h 3855489"/>
              <a:gd name="connsiteX260" fmla="*/ 122898 w 3860171"/>
              <a:gd name="connsiteY260" fmla="*/ 1643323 h 3855489"/>
              <a:gd name="connsiteX261" fmla="*/ 136944 w 3860171"/>
              <a:gd name="connsiteY261" fmla="*/ 1609380 h 3855489"/>
              <a:gd name="connsiteX262" fmla="*/ 146308 w 3860171"/>
              <a:gd name="connsiteY262" fmla="*/ 1573096 h 3855489"/>
              <a:gd name="connsiteX263" fmla="*/ 150989 w 3860171"/>
              <a:gd name="connsiteY263" fmla="*/ 1536811 h 3855489"/>
              <a:gd name="connsiteX264" fmla="*/ 150989 w 3860171"/>
              <a:gd name="connsiteY264" fmla="*/ 1498186 h 3855489"/>
              <a:gd name="connsiteX265" fmla="*/ 148648 w 3860171"/>
              <a:gd name="connsiteY265" fmla="*/ 1458391 h 3855489"/>
              <a:gd name="connsiteX266" fmla="*/ 143967 w 3860171"/>
              <a:gd name="connsiteY266" fmla="*/ 1418595 h 3855489"/>
              <a:gd name="connsiteX267" fmla="*/ 138114 w 3860171"/>
              <a:gd name="connsiteY267" fmla="*/ 1378799 h 3855489"/>
              <a:gd name="connsiteX268" fmla="*/ 133432 w 3860171"/>
              <a:gd name="connsiteY268" fmla="*/ 1339004 h 3855489"/>
              <a:gd name="connsiteX269" fmla="*/ 129921 w 3860171"/>
              <a:gd name="connsiteY269" fmla="*/ 1299208 h 3855489"/>
              <a:gd name="connsiteX270" fmla="*/ 131092 w 3860171"/>
              <a:gd name="connsiteY270" fmla="*/ 1261754 h 3855489"/>
              <a:gd name="connsiteX271" fmla="*/ 135773 w 3860171"/>
              <a:gd name="connsiteY271" fmla="*/ 1225469 h 3855489"/>
              <a:gd name="connsiteX272" fmla="*/ 146308 w 3860171"/>
              <a:gd name="connsiteY272" fmla="*/ 1190356 h 3855489"/>
              <a:gd name="connsiteX273" fmla="*/ 161523 w 3860171"/>
              <a:gd name="connsiteY273" fmla="*/ 1161094 h 3855489"/>
              <a:gd name="connsiteX274" fmla="*/ 181421 w 3860171"/>
              <a:gd name="connsiteY274" fmla="*/ 1133003 h 3855489"/>
              <a:gd name="connsiteX275" fmla="*/ 204830 w 3860171"/>
              <a:gd name="connsiteY275" fmla="*/ 1108424 h 3855489"/>
              <a:gd name="connsiteX276" fmla="*/ 231751 w 3860171"/>
              <a:gd name="connsiteY276" fmla="*/ 1083844 h 3855489"/>
              <a:gd name="connsiteX277" fmla="*/ 259842 w 3860171"/>
              <a:gd name="connsiteY277" fmla="*/ 1061605 h 3855489"/>
              <a:gd name="connsiteX278" fmla="*/ 289103 w 3860171"/>
              <a:gd name="connsiteY278" fmla="*/ 1039367 h 3855489"/>
              <a:gd name="connsiteX279" fmla="*/ 318365 w 3860171"/>
              <a:gd name="connsiteY279" fmla="*/ 1017128 h 3855489"/>
              <a:gd name="connsiteX280" fmla="*/ 347626 w 3860171"/>
              <a:gd name="connsiteY280" fmla="*/ 994889 h 3855489"/>
              <a:gd name="connsiteX281" fmla="*/ 374547 w 3860171"/>
              <a:gd name="connsiteY281" fmla="*/ 971480 h 3855489"/>
              <a:gd name="connsiteX282" fmla="*/ 397956 w 3860171"/>
              <a:gd name="connsiteY282" fmla="*/ 944560 h 3855489"/>
              <a:gd name="connsiteX283" fmla="*/ 419024 w 3860171"/>
              <a:gd name="connsiteY283" fmla="*/ 918809 h 3855489"/>
              <a:gd name="connsiteX284" fmla="*/ 435411 w 3860171"/>
              <a:gd name="connsiteY284" fmla="*/ 889548 h 3855489"/>
              <a:gd name="connsiteX285" fmla="*/ 449456 w 3860171"/>
              <a:gd name="connsiteY285" fmla="*/ 857946 h 3855489"/>
              <a:gd name="connsiteX286" fmla="*/ 461161 w 3860171"/>
              <a:gd name="connsiteY286" fmla="*/ 824002 h 3855489"/>
              <a:gd name="connsiteX287" fmla="*/ 471695 w 3860171"/>
              <a:gd name="connsiteY287" fmla="*/ 788889 h 3855489"/>
              <a:gd name="connsiteX288" fmla="*/ 481059 w 3860171"/>
              <a:gd name="connsiteY288" fmla="*/ 753775 h 3855489"/>
              <a:gd name="connsiteX289" fmla="*/ 490422 w 3860171"/>
              <a:gd name="connsiteY289" fmla="*/ 717491 h 3855489"/>
              <a:gd name="connsiteX290" fmla="*/ 500956 w 3860171"/>
              <a:gd name="connsiteY290" fmla="*/ 683547 h 3855489"/>
              <a:gd name="connsiteX291" fmla="*/ 512661 w 3860171"/>
              <a:gd name="connsiteY291" fmla="*/ 649604 h 3855489"/>
              <a:gd name="connsiteX292" fmla="*/ 526706 w 3860171"/>
              <a:gd name="connsiteY292" fmla="*/ 618002 h 3855489"/>
              <a:gd name="connsiteX293" fmla="*/ 544263 w 3860171"/>
              <a:gd name="connsiteY293" fmla="*/ 589911 h 3855489"/>
              <a:gd name="connsiteX294" fmla="*/ 565332 w 3860171"/>
              <a:gd name="connsiteY294" fmla="*/ 564161 h 3855489"/>
              <a:gd name="connsiteX295" fmla="*/ 591082 w 3860171"/>
              <a:gd name="connsiteY295" fmla="*/ 543092 h 3855489"/>
              <a:gd name="connsiteX296" fmla="*/ 619173 w 3860171"/>
              <a:gd name="connsiteY296" fmla="*/ 525535 h 3855489"/>
              <a:gd name="connsiteX297" fmla="*/ 650775 w 3860171"/>
              <a:gd name="connsiteY297" fmla="*/ 511490 h 3855489"/>
              <a:gd name="connsiteX298" fmla="*/ 684718 w 3860171"/>
              <a:gd name="connsiteY298" fmla="*/ 499785 h 3855489"/>
              <a:gd name="connsiteX299" fmla="*/ 718662 w 3860171"/>
              <a:gd name="connsiteY299" fmla="*/ 489251 h 3855489"/>
              <a:gd name="connsiteX300" fmla="*/ 754946 w 3860171"/>
              <a:gd name="connsiteY300" fmla="*/ 479888 h 3855489"/>
              <a:gd name="connsiteX301" fmla="*/ 790059 w 3860171"/>
              <a:gd name="connsiteY301" fmla="*/ 470524 h 3855489"/>
              <a:gd name="connsiteX302" fmla="*/ 825173 w 3860171"/>
              <a:gd name="connsiteY302" fmla="*/ 459990 h 3855489"/>
              <a:gd name="connsiteX303" fmla="*/ 859116 w 3860171"/>
              <a:gd name="connsiteY303" fmla="*/ 448285 h 3855489"/>
              <a:gd name="connsiteX304" fmla="*/ 890719 w 3860171"/>
              <a:gd name="connsiteY304" fmla="*/ 434240 h 3855489"/>
              <a:gd name="connsiteX305" fmla="*/ 919980 w 3860171"/>
              <a:gd name="connsiteY305" fmla="*/ 417853 h 3855489"/>
              <a:gd name="connsiteX306" fmla="*/ 945730 w 3860171"/>
              <a:gd name="connsiteY306" fmla="*/ 396785 h 3855489"/>
              <a:gd name="connsiteX307" fmla="*/ 972651 w 3860171"/>
              <a:gd name="connsiteY307" fmla="*/ 373376 h 3855489"/>
              <a:gd name="connsiteX308" fmla="*/ 996060 w 3860171"/>
              <a:gd name="connsiteY308" fmla="*/ 346455 h 3855489"/>
              <a:gd name="connsiteX309" fmla="*/ 1018299 w 3860171"/>
              <a:gd name="connsiteY309" fmla="*/ 318364 h 3855489"/>
              <a:gd name="connsiteX310" fmla="*/ 1040537 w 3860171"/>
              <a:gd name="connsiteY310" fmla="*/ 289103 h 3855489"/>
              <a:gd name="connsiteX311" fmla="*/ 1062776 w 3860171"/>
              <a:gd name="connsiteY311" fmla="*/ 259841 h 3855489"/>
              <a:gd name="connsiteX312" fmla="*/ 1085015 w 3860171"/>
              <a:gd name="connsiteY312" fmla="*/ 231750 h 3855489"/>
              <a:gd name="connsiteX313" fmla="*/ 1109594 w 3860171"/>
              <a:gd name="connsiteY313" fmla="*/ 204830 h 3855489"/>
              <a:gd name="connsiteX314" fmla="*/ 1134174 w 3860171"/>
              <a:gd name="connsiteY314" fmla="*/ 181421 h 3855489"/>
              <a:gd name="connsiteX315" fmla="*/ 1162265 w 3860171"/>
              <a:gd name="connsiteY315" fmla="*/ 161523 h 3855489"/>
              <a:gd name="connsiteX316" fmla="*/ 1191526 w 3860171"/>
              <a:gd name="connsiteY316" fmla="*/ 146307 h 3855489"/>
              <a:gd name="connsiteX317" fmla="*/ 1226640 w 3860171"/>
              <a:gd name="connsiteY317" fmla="*/ 135773 h 3855489"/>
              <a:gd name="connsiteX318" fmla="*/ 1262924 w 3860171"/>
              <a:gd name="connsiteY318" fmla="*/ 131091 h 3855489"/>
              <a:gd name="connsiteX319" fmla="*/ 1300379 w 3860171"/>
              <a:gd name="connsiteY319" fmla="*/ 129921 h 3855489"/>
              <a:gd name="connsiteX320" fmla="*/ 1340175 w 3860171"/>
              <a:gd name="connsiteY320" fmla="*/ 133432 h 3855489"/>
              <a:gd name="connsiteX321" fmla="*/ 1379970 w 3860171"/>
              <a:gd name="connsiteY321" fmla="*/ 138114 h 3855489"/>
              <a:gd name="connsiteX322" fmla="*/ 1419766 w 3860171"/>
              <a:gd name="connsiteY322" fmla="*/ 143966 h 3855489"/>
              <a:gd name="connsiteX323" fmla="*/ 1459561 w 3860171"/>
              <a:gd name="connsiteY323" fmla="*/ 148648 h 3855489"/>
              <a:gd name="connsiteX324" fmla="*/ 1499357 w 3860171"/>
              <a:gd name="connsiteY324" fmla="*/ 150989 h 3855489"/>
              <a:gd name="connsiteX325" fmla="*/ 1537982 w 3860171"/>
              <a:gd name="connsiteY325" fmla="*/ 150989 h 3855489"/>
              <a:gd name="connsiteX326" fmla="*/ 1574266 w 3860171"/>
              <a:gd name="connsiteY326" fmla="*/ 146307 h 3855489"/>
              <a:gd name="connsiteX327" fmla="*/ 1610550 w 3860171"/>
              <a:gd name="connsiteY327" fmla="*/ 136943 h 3855489"/>
              <a:gd name="connsiteX328" fmla="*/ 1645664 w 3860171"/>
              <a:gd name="connsiteY328" fmla="*/ 122898 h 3855489"/>
              <a:gd name="connsiteX329" fmla="*/ 1680778 w 3860171"/>
              <a:gd name="connsiteY329" fmla="*/ 104171 h 3855489"/>
              <a:gd name="connsiteX330" fmla="*/ 1715892 w 3860171"/>
              <a:gd name="connsiteY330" fmla="*/ 85443 h 3855489"/>
              <a:gd name="connsiteX331" fmla="*/ 1751005 w 3860171"/>
              <a:gd name="connsiteY331" fmla="*/ 64375 h 3855489"/>
              <a:gd name="connsiteX332" fmla="*/ 1784949 w 3860171"/>
              <a:gd name="connsiteY332" fmla="*/ 44477 h 3855489"/>
              <a:gd name="connsiteX333" fmla="*/ 1821233 w 3860171"/>
              <a:gd name="connsiteY333" fmla="*/ 26920 h 3855489"/>
              <a:gd name="connsiteX334" fmla="*/ 1856347 w 3860171"/>
              <a:gd name="connsiteY334" fmla="*/ 12875 h 3855489"/>
              <a:gd name="connsiteX335" fmla="*/ 1892631 w 3860171"/>
              <a:gd name="connsiteY335" fmla="*/ 3511 h 3855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3860171" h="3855489">
                <a:moveTo>
                  <a:pt x="1930086" y="0"/>
                </a:moveTo>
                <a:lnTo>
                  <a:pt x="1967540" y="3511"/>
                </a:lnTo>
                <a:lnTo>
                  <a:pt x="2003824" y="12875"/>
                </a:lnTo>
                <a:lnTo>
                  <a:pt x="2038938" y="26920"/>
                </a:lnTo>
                <a:lnTo>
                  <a:pt x="2075222" y="44477"/>
                </a:lnTo>
                <a:lnTo>
                  <a:pt x="2109166" y="64375"/>
                </a:lnTo>
                <a:lnTo>
                  <a:pt x="2144279" y="85443"/>
                </a:lnTo>
                <a:lnTo>
                  <a:pt x="2179393" y="104171"/>
                </a:lnTo>
                <a:lnTo>
                  <a:pt x="2214507" y="122898"/>
                </a:lnTo>
                <a:lnTo>
                  <a:pt x="2248450" y="136943"/>
                </a:lnTo>
                <a:lnTo>
                  <a:pt x="2285905" y="146307"/>
                </a:lnTo>
                <a:lnTo>
                  <a:pt x="2322189" y="150989"/>
                </a:lnTo>
                <a:lnTo>
                  <a:pt x="2360814" y="150989"/>
                </a:lnTo>
                <a:lnTo>
                  <a:pt x="2400610" y="148648"/>
                </a:lnTo>
                <a:lnTo>
                  <a:pt x="2440405" y="143966"/>
                </a:lnTo>
                <a:lnTo>
                  <a:pt x="2480201" y="138114"/>
                </a:lnTo>
                <a:lnTo>
                  <a:pt x="2519996" y="133432"/>
                </a:lnTo>
                <a:lnTo>
                  <a:pt x="2559792" y="129921"/>
                </a:lnTo>
                <a:lnTo>
                  <a:pt x="2597247" y="131091"/>
                </a:lnTo>
                <a:lnTo>
                  <a:pt x="2633531" y="135773"/>
                </a:lnTo>
                <a:lnTo>
                  <a:pt x="2668644" y="146307"/>
                </a:lnTo>
                <a:lnTo>
                  <a:pt x="2697906" y="161523"/>
                </a:lnTo>
                <a:lnTo>
                  <a:pt x="2725997" y="181421"/>
                </a:lnTo>
                <a:lnTo>
                  <a:pt x="2750577" y="204830"/>
                </a:lnTo>
                <a:lnTo>
                  <a:pt x="2775156" y="231750"/>
                </a:lnTo>
                <a:lnTo>
                  <a:pt x="2797395" y="259841"/>
                </a:lnTo>
                <a:lnTo>
                  <a:pt x="2819634" y="289103"/>
                </a:lnTo>
                <a:lnTo>
                  <a:pt x="2841872" y="318364"/>
                </a:lnTo>
                <a:lnTo>
                  <a:pt x="2864111" y="346455"/>
                </a:lnTo>
                <a:lnTo>
                  <a:pt x="2887520" y="373376"/>
                </a:lnTo>
                <a:lnTo>
                  <a:pt x="2914441" y="396785"/>
                </a:lnTo>
                <a:lnTo>
                  <a:pt x="2940191" y="417853"/>
                </a:lnTo>
                <a:lnTo>
                  <a:pt x="2969452" y="434240"/>
                </a:lnTo>
                <a:lnTo>
                  <a:pt x="3001055" y="448285"/>
                </a:lnTo>
                <a:lnTo>
                  <a:pt x="3034998" y="459990"/>
                </a:lnTo>
                <a:lnTo>
                  <a:pt x="3070112" y="470524"/>
                </a:lnTo>
                <a:lnTo>
                  <a:pt x="3105226" y="479888"/>
                </a:lnTo>
                <a:lnTo>
                  <a:pt x="3141510" y="489251"/>
                </a:lnTo>
                <a:lnTo>
                  <a:pt x="3175453" y="499785"/>
                </a:lnTo>
                <a:lnTo>
                  <a:pt x="3209396" y="511490"/>
                </a:lnTo>
                <a:lnTo>
                  <a:pt x="3240999" y="525535"/>
                </a:lnTo>
                <a:lnTo>
                  <a:pt x="3269090" y="543092"/>
                </a:lnTo>
                <a:lnTo>
                  <a:pt x="3294840" y="564161"/>
                </a:lnTo>
                <a:lnTo>
                  <a:pt x="3315908" y="589911"/>
                </a:lnTo>
                <a:lnTo>
                  <a:pt x="3333465" y="618002"/>
                </a:lnTo>
                <a:lnTo>
                  <a:pt x="3347510" y="649604"/>
                </a:lnTo>
                <a:lnTo>
                  <a:pt x="3359215" y="683547"/>
                </a:lnTo>
                <a:lnTo>
                  <a:pt x="3369749" y="717491"/>
                </a:lnTo>
                <a:lnTo>
                  <a:pt x="3379113" y="753775"/>
                </a:lnTo>
                <a:lnTo>
                  <a:pt x="3388476" y="788889"/>
                </a:lnTo>
                <a:lnTo>
                  <a:pt x="3399010" y="824002"/>
                </a:lnTo>
                <a:lnTo>
                  <a:pt x="3410715" y="857946"/>
                </a:lnTo>
                <a:lnTo>
                  <a:pt x="3424760" y="889548"/>
                </a:lnTo>
                <a:lnTo>
                  <a:pt x="3441147" y="918809"/>
                </a:lnTo>
                <a:lnTo>
                  <a:pt x="3462215" y="944560"/>
                </a:lnTo>
                <a:lnTo>
                  <a:pt x="3485624" y="971480"/>
                </a:lnTo>
                <a:lnTo>
                  <a:pt x="3512545" y="994889"/>
                </a:lnTo>
                <a:lnTo>
                  <a:pt x="3540636" y="1017128"/>
                </a:lnTo>
                <a:lnTo>
                  <a:pt x="3571068" y="1039367"/>
                </a:lnTo>
                <a:lnTo>
                  <a:pt x="3600329" y="1061605"/>
                </a:lnTo>
                <a:lnTo>
                  <a:pt x="3628420" y="1083844"/>
                </a:lnTo>
                <a:lnTo>
                  <a:pt x="3655341" y="1108424"/>
                </a:lnTo>
                <a:lnTo>
                  <a:pt x="3678750" y="1133003"/>
                </a:lnTo>
                <a:lnTo>
                  <a:pt x="3698648" y="1161094"/>
                </a:lnTo>
                <a:lnTo>
                  <a:pt x="3713864" y="1190356"/>
                </a:lnTo>
                <a:lnTo>
                  <a:pt x="3724398" y="1225469"/>
                </a:lnTo>
                <a:lnTo>
                  <a:pt x="3729080" y="1261754"/>
                </a:lnTo>
                <a:lnTo>
                  <a:pt x="3730250" y="1299208"/>
                </a:lnTo>
                <a:lnTo>
                  <a:pt x="3726739" y="1339004"/>
                </a:lnTo>
                <a:lnTo>
                  <a:pt x="3722057" y="1378799"/>
                </a:lnTo>
                <a:lnTo>
                  <a:pt x="3716205" y="1418595"/>
                </a:lnTo>
                <a:lnTo>
                  <a:pt x="3711523" y="1458391"/>
                </a:lnTo>
                <a:lnTo>
                  <a:pt x="3709182" y="1498186"/>
                </a:lnTo>
                <a:lnTo>
                  <a:pt x="3709182" y="1536811"/>
                </a:lnTo>
                <a:lnTo>
                  <a:pt x="3713864" y="1573096"/>
                </a:lnTo>
                <a:lnTo>
                  <a:pt x="3723228" y="1609380"/>
                </a:lnTo>
                <a:lnTo>
                  <a:pt x="3737273" y="1643323"/>
                </a:lnTo>
                <a:lnTo>
                  <a:pt x="3756000" y="1678437"/>
                </a:lnTo>
                <a:lnTo>
                  <a:pt x="3774728" y="1713550"/>
                </a:lnTo>
                <a:lnTo>
                  <a:pt x="3795796" y="1748664"/>
                </a:lnTo>
                <a:lnTo>
                  <a:pt x="3815694" y="1782608"/>
                </a:lnTo>
                <a:lnTo>
                  <a:pt x="3833250" y="1818892"/>
                </a:lnTo>
                <a:lnTo>
                  <a:pt x="3847296" y="1854005"/>
                </a:lnTo>
                <a:lnTo>
                  <a:pt x="3856660" y="1890290"/>
                </a:lnTo>
                <a:lnTo>
                  <a:pt x="3860171" y="1927744"/>
                </a:lnTo>
                <a:lnTo>
                  <a:pt x="3856660" y="1965199"/>
                </a:lnTo>
                <a:lnTo>
                  <a:pt x="3847296" y="2001483"/>
                </a:lnTo>
                <a:lnTo>
                  <a:pt x="3833250" y="2036597"/>
                </a:lnTo>
                <a:lnTo>
                  <a:pt x="3815694" y="2072881"/>
                </a:lnTo>
                <a:lnTo>
                  <a:pt x="3795796" y="2106824"/>
                </a:lnTo>
                <a:lnTo>
                  <a:pt x="3774728" y="2141938"/>
                </a:lnTo>
                <a:lnTo>
                  <a:pt x="3756000" y="2177052"/>
                </a:lnTo>
                <a:lnTo>
                  <a:pt x="3737273" y="2212166"/>
                </a:lnTo>
                <a:lnTo>
                  <a:pt x="3723228" y="2246109"/>
                </a:lnTo>
                <a:lnTo>
                  <a:pt x="3713864" y="2282393"/>
                </a:lnTo>
                <a:lnTo>
                  <a:pt x="3709182" y="2318677"/>
                </a:lnTo>
                <a:lnTo>
                  <a:pt x="3709182" y="2357302"/>
                </a:lnTo>
                <a:lnTo>
                  <a:pt x="3711523" y="2397098"/>
                </a:lnTo>
                <a:lnTo>
                  <a:pt x="3716205" y="2436894"/>
                </a:lnTo>
                <a:lnTo>
                  <a:pt x="3722057" y="2476689"/>
                </a:lnTo>
                <a:lnTo>
                  <a:pt x="3726739" y="2516485"/>
                </a:lnTo>
                <a:lnTo>
                  <a:pt x="3730250" y="2556280"/>
                </a:lnTo>
                <a:lnTo>
                  <a:pt x="3729080" y="2593735"/>
                </a:lnTo>
                <a:lnTo>
                  <a:pt x="3724398" y="2630019"/>
                </a:lnTo>
                <a:lnTo>
                  <a:pt x="3713864" y="2665133"/>
                </a:lnTo>
                <a:lnTo>
                  <a:pt x="3698648" y="2694394"/>
                </a:lnTo>
                <a:lnTo>
                  <a:pt x="3678750" y="2722485"/>
                </a:lnTo>
                <a:lnTo>
                  <a:pt x="3655341" y="2747065"/>
                </a:lnTo>
                <a:lnTo>
                  <a:pt x="3628420" y="2771645"/>
                </a:lnTo>
                <a:lnTo>
                  <a:pt x="3600329" y="2793883"/>
                </a:lnTo>
                <a:lnTo>
                  <a:pt x="3571068" y="2816122"/>
                </a:lnTo>
                <a:lnTo>
                  <a:pt x="3540636" y="2838361"/>
                </a:lnTo>
                <a:lnTo>
                  <a:pt x="3512545" y="2860599"/>
                </a:lnTo>
                <a:lnTo>
                  <a:pt x="3485624" y="2884009"/>
                </a:lnTo>
                <a:lnTo>
                  <a:pt x="3462215" y="2910929"/>
                </a:lnTo>
                <a:lnTo>
                  <a:pt x="3441147" y="2936679"/>
                </a:lnTo>
                <a:lnTo>
                  <a:pt x="3424760" y="2965941"/>
                </a:lnTo>
                <a:lnTo>
                  <a:pt x="3410715" y="2997543"/>
                </a:lnTo>
                <a:lnTo>
                  <a:pt x="3399010" y="3031486"/>
                </a:lnTo>
                <a:lnTo>
                  <a:pt x="3388476" y="3066600"/>
                </a:lnTo>
                <a:lnTo>
                  <a:pt x="3379113" y="3101714"/>
                </a:lnTo>
                <a:lnTo>
                  <a:pt x="3369749" y="3137998"/>
                </a:lnTo>
                <a:lnTo>
                  <a:pt x="3359215" y="3171941"/>
                </a:lnTo>
                <a:lnTo>
                  <a:pt x="3347510" y="3205885"/>
                </a:lnTo>
                <a:lnTo>
                  <a:pt x="3333465" y="3237487"/>
                </a:lnTo>
                <a:lnTo>
                  <a:pt x="3315908" y="3265578"/>
                </a:lnTo>
                <a:lnTo>
                  <a:pt x="3294840" y="3291328"/>
                </a:lnTo>
                <a:lnTo>
                  <a:pt x="3269090" y="3312396"/>
                </a:lnTo>
                <a:lnTo>
                  <a:pt x="3240999" y="3329953"/>
                </a:lnTo>
                <a:lnTo>
                  <a:pt x="3209396" y="3343999"/>
                </a:lnTo>
                <a:lnTo>
                  <a:pt x="3175453" y="3355703"/>
                </a:lnTo>
                <a:lnTo>
                  <a:pt x="3141510" y="3366237"/>
                </a:lnTo>
                <a:lnTo>
                  <a:pt x="3105226" y="3375601"/>
                </a:lnTo>
                <a:lnTo>
                  <a:pt x="3070112" y="3384965"/>
                </a:lnTo>
                <a:lnTo>
                  <a:pt x="3034998" y="3395499"/>
                </a:lnTo>
                <a:lnTo>
                  <a:pt x="3001055" y="3407203"/>
                </a:lnTo>
                <a:lnTo>
                  <a:pt x="2969452" y="3421249"/>
                </a:lnTo>
                <a:lnTo>
                  <a:pt x="2940191" y="3437635"/>
                </a:lnTo>
                <a:lnTo>
                  <a:pt x="2914441" y="3458704"/>
                </a:lnTo>
                <a:lnTo>
                  <a:pt x="2887520" y="3482113"/>
                </a:lnTo>
                <a:lnTo>
                  <a:pt x="2864111" y="3509033"/>
                </a:lnTo>
                <a:lnTo>
                  <a:pt x="2841872" y="3537124"/>
                </a:lnTo>
                <a:lnTo>
                  <a:pt x="2819634" y="3566386"/>
                </a:lnTo>
                <a:lnTo>
                  <a:pt x="2797395" y="3595647"/>
                </a:lnTo>
                <a:lnTo>
                  <a:pt x="2775156" y="3623738"/>
                </a:lnTo>
                <a:lnTo>
                  <a:pt x="2750577" y="3650659"/>
                </a:lnTo>
                <a:lnTo>
                  <a:pt x="2725997" y="3674068"/>
                </a:lnTo>
                <a:lnTo>
                  <a:pt x="2697906" y="3693966"/>
                </a:lnTo>
                <a:lnTo>
                  <a:pt x="2668644" y="3709182"/>
                </a:lnTo>
                <a:lnTo>
                  <a:pt x="2633531" y="3719716"/>
                </a:lnTo>
                <a:lnTo>
                  <a:pt x="2597247" y="3724398"/>
                </a:lnTo>
                <a:lnTo>
                  <a:pt x="2559792" y="3725568"/>
                </a:lnTo>
                <a:lnTo>
                  <a:pt x="2519996" y="3722057"/>
                </a:lnTo>
                <a:lnTo>
                  <a:pt x="2480201" y="3717375"/>
                </a:lnTo>
                <a:lnTo>
                  <a:pt x="2440405" y="3711523"/>
                </a:lnTo>
                <a:lnTo>
                  <a:pt x="2400610" y="3706841"/>
                </a:lnTo>
                <a:lnTo>
                  <a:pt x="2360814" y="3704500"/>
                </a:lnTo>
                <a:lnTo>
                  <a:pt x="2322189" y="3704500"/>
                </a:lnTo>
                <a:lnTo>
                  <a:pt x="2285905" y="3709182"/>
                </a:lnTo>
                <a:lnTo>
                  <a:pt x="2248450" y="3718545"/>
                </a:lnTo>
                <a:lnTo>
                  <a:pt x="2214507" y="3732591"/>
                </a:lnTo>
                <a:lnTo>
                  <a:pt x="2179393" y="3751318"/>
                </a:lnTo>
                <a:lnTo>
                  <a:pt x="2144279" y="3770045"/>
                </a:lnTo>
                <a:lnTo>
                  <a:pt x="2109166" y="3791114"/>
                </a:lnTo>
                <a:lnTo>
                  <a:pt x="2075222" y="3811011"/>
                </a:lnTo>
                <a:lnTo>
                  <a:pt x="2038938" y="3828568"/>
                </a:lnTo>
                <a:lnTo>
                  <a:pt x="2003824" y="3842614"/>
                </a:lnTo>
                <a:lnTo>
                  <a:pt x="1967540" y="3851978"/>
                </a:lnTo>
                <a:lnTo>
                  <a:pt x="1930086" y="3855489"/>
                </a:lnTo>
                <a:lnTo>
                  <a:pt x="1892631" y="3851978"/>
                </a:lnTo>
                <a:lnTo>
                  <a:pt x="1856347" y="3842614"/>
                </a:lnTo>
                <a:lnTo>
                  <a:pt x="1821233" y="3828568"/>
                </a:lnTo>
                <a:lnTo>
                  <a:pt x="1784949" y="3811011"/>
                </a:lnTo>
                <a:lnTo>
                  <a:pt x="1751005" y="3791114"/>
                </a:lnTo>
                <a:lnTo>
                  <a:pt x="1715892" y="3770045"/>
                </a:lnTo>
                <a:lnTo>
                  <a:pt x="1680778" y="3751318"/>
                </a:lnTo>
                <a:lnTo>
                  <a:pt x="1645664" y="3732591"/>
                </a:lnTo>
                <a:lnTo>
                  <a:pt x="1610550" y="3718545"/>
                </a:lnTo>
                <a:lnTo>
                  <a:pt x="1574266" y="3709182"/>
                </a:lnTo>
                <a:lnTo>
                  <a:pt x="1537982" y="3704500"/>
                </a:lnTo>
                <a:lnTo>
                  <a:pt x="1499357" y="3704500"/>
                </a:lnTo>
                <a:lnTo>
                  <a:pt x="1459561" y="3706841"/>
                </a:lnTo>
                <a:lnTo>
                  <a:pt x="1419766" y="3711523"/>
                </a:lnTo>
                <a:lnTo>
                  <a:pt x="1379970" y="3717375"/>
                </a:lnTo>
                <a:lnTo>
                  <a:pt x="1340175" y="3722057"/>
                </a:lnTo>
                <a:lnTo>
                  <a:pt x="1300379" y="3725568"/>
                </a:lnTo>
                <a:lnTo>
                  <a:pt x="1262924" y="3724398"/>
                </a:lnTo>
                <a:lnTo>
                  <a:pt x="1226640" y="3719716"/>
                </a:lnTo>
                <a:lnTo>
                  <a:pt x="1191526" y="3709182"/>
                </a:lnTo>
                <a:lnTo>
                  <a:pt x="1162265" y="3693966"/>
                </a:lnTo>
                <a:lnTo>
                  <a:pt x="1134174" y="3674068"/>
                </a:lnTo>
                <a:lnTo>
                  <a:pt x="1109594" y="3650659"/>
                </a:lnTo>
                <a:lnTo>
                  <a:pt x="1085015" y="3623738"/>
                </a:lnTo>
                <a:lnTo>
                  <a:pt x="1062776" y="3595647"/>
                </a:lnTo>
                <a:lnTo>
                  <a:pt x="1040537" y="3566386"/>
                </a:lnTo>
                <a:lnTo>
                  <a:pt x="1018299" y="3537124"/>
                </a:lnTo>
                <a:lnTo>
                  <a:pt x="996060" y="3509033"/>
                </a:lnTo>
                <a:lnTo>
                  <a:pt x="972651" y="3482113"/>
                </a:lnTo>
                <a:lnTo>
                  <a:pt x="945730" y="3458704"/>
                </a:lnTo>
                <a:lnTo>
                  <a:pt x="919980" y="3437635"/>
                </a:lnTo>
                <a:lnTo>
                  <a:pt x="890719" y="3421249"/>
                </a:lnTo>
                <a:lnTo>
                  <a:pt x="859116" y="3407203"/>
                </a:lnTo>
                <a:lnTo>
                  <a:pt x="825173" y="3395499"/>
                </a:lnTo>
                <a:lnTo>
                  <a:pt x="790059" y="3384965"/>
                </a:lnTo>
                <a:lnTo>
                  <a:pt x="754946" y="3375601"/>
                </a:lnTo>
                <a:lnTo>
                  <a:pt x="718662" y="3366237"/>
                </a:lnTo>
                <a:lnTo>
                  <a:pt x="684718" y="3355703"/>
                </a:lnTo>
                <a:lnTo>
                  <a:pt x="650775" y="3343999"/>
                </a:lnTo>
                <a:lnTo>
                  <a:pt x="619173" y="3329953"/>
                </a:lnTo>
                <a:lnTo>
                  <a:pt x="591082" y="3312396"/>
                </a:lnTo>
                <a:lnTo>
                  <a:pt x="565332" y="3291328"/>
                </a:lnTo>
                <a:lnTo>
                  <a:pt x="544263" y="3265578"/>
                </a:lnTo>
                <a:lnTo>
                  <a:pt x="526706" y="3237487"/>
                </a:lnTo>
                <a:lnTo>
                  <a:pt x="512661" y="3205885"/>
                </a:lnTo>
                <a:lnTo>
                  <a:pt x="500956" y="3171941"/>
                </a:lnTo>
                <a:lnTo>
                  <a:pt x="490422" y="3137998"/>
                </a:lnTo>
                <a:lnTo>
                  <a:pt x="481059" y="3101714"/>
                </a:lnTo>
                <a:lnTo>
                  <a:pt x="471695" y="3066600"/>
                </a:lnTo>
                <a:lnTo>
                  <a:pt x="461161" y="3031486"/>
                </a:lnTo>
                <a:lnTo>
                  <a:pt x="449456" y="2997543"/>
                </a:lnTo>
                <a:lnTo>
                  <a:pt x="435411" y="2965941"/>
                </a:lnTo>
                <a:lnTo>
                  <a:pt x="419024" y="2936679"/>
                </a:lnTo>
                <a:lnTo>
                  <a:pt x="397956" y="2910929"/>
                </a:lnTo>
                <a:lnTo>
                  <a:pt x="374547" y="2884009"/>
                </a:lnTo>
                <a:lnTo>
                  <a:pt x="347626" y="2860599"/>
                </a:lnTo>
                <a:lnTo>
                  <a:pt x="318365" y="2838361"/>
                </a:lnTo>
                <a:lnTo>
                  <a:pt x="289103" y="2816122"/>
                </a:lnTo>
                <a:lnTo>
                  <a:pt x="259842" y="2793883"/>
                </a:lnTo>
                <a:lnTo>
                  <a:pt x="231751" y="2771645"/>
                </a:lnTo>
                <a:lnTo>
                  <a:pt x="204830" y="2747065"/>
                </a:lnTo>
                <a:lnTo>
                  <a:pt x="181421" y="2722485"/>
                </a:lnTo>
                <a:lnTo>
                  <a:pt x="161523" y="2694394"/>
                </a:lnTo>
                <a:lnTo>
                  <a:pt x="146308" y="2665133"/>
                </a:lnTo>
                <a:lnTo>
                  <a:pt x="135773" y="2630019"/>
                </a:lnTo>
                <a:lnTo>
                  <a:pt x="131092" y="2593735"/>
                </a:lnTo>
                <a:lnTo>
                  <a:pt x="129921" y="2556280"/>
                </a:lnTo>
                <a:lnTo>
                  <a:pt x="133432" y="2516485"/>
                </a:lnTo>
                <a:lnTo>
                  <a:pt x="138114" y="2476689"/>
                </a:lnTo>
                <a:lnTo>
                  <a:pt x="143967" y="2436894"/>
                </a:lnTo>
                <a:lnTo>
                  <a:pt x="148648" y="2397098"/>
                </a:lnTo>
                <a:lnTo>
                  <a:pt x="150989" y="2357302"/>
                </a:lnTo>
                <a:lnTo>
                  <a:pt x="150989" y="2318677"/>
                </a:lnTo>
                <a:lnTo>
                  <a:pt x="146308" y="2282393"/>
                </a:lnTo>
                <a:lnTo>
                  <a:pt x="136944" y="2246109"/>
                </a:lnTo>
                <a:lnTo>
                  <a:pt x="122898" y="2212166"/>
                </a:lnTo>
                <a:lnTo>
                  <a:pt x="105341" y="2177052"/>
                </a:lnTo>
                <a:lnTo>
                  <a:pt x="85444" y="2141938"/>
                </a:lnTo>
                <a:lnTo>
                  <a:pt x="64375" y="2106824"/>
                </a:lnTo>
                <a:lnTo>
                  <a:pt x="44478" y="2072881"/>
                </a:lnTo>
                <a:lnTo>
                  <a:pt x="26921" y="2036597"/>
                </a:lnTo>
                <a:lnTo>
                  <a:pt x="12875" y="2001483"/>
                </a:lnTo>
                <a:lnTo>
                  <a:pt x="3512" y="1965199"/>
                </a:lnTo>
                <a:lnTo>
                  <a:pt x="0" y="1927744"/>
                </a:lnTo>
                <a:lnTo>
                  <a:pt x="3512" y="1890290"/>
                </a:lnTo>
                <a:lnTo>
                  <a:pt x="12875" y="1854005"/>
                </a:lnTo>
                <a:lnTo>
                  <a:pt x="26921" y="1818892"/>
                </a:lnTo>
                <a:lnTo>
                  <a:pt x="44478" y="1782608"/>
                </a:lnTo>
                <a:lnTo>
                  <a:pt x="64375" y="1748664"/>
                </a:lnTo>
                <a:lnTo>
                  <a:pt x="85444" y="1713550"/>
                </a:lnTo>
                <a:lnTo>
                  <a:pt x="105341" y="1678437"/>
                </a:lnTo>
                <a:lnTo>
                  <a:pt x="122898" y="1643323"/>
                </a:lnTo>
                <a:lnTo>
                  <a:pt x="136944" y="1609380"/>
                </a:lnTo>
                <a:lnTo>
                  <a:pt x="146308" y="1573096"/>
                </a:lnTo>
                <a:lnTo>
                  <a:pt x="150989" y="1536811"/>
                </a:lnTo>
                <a:lnTo>
                  <a:pt x="150989" y="1498186"/>
                </a:lnTo>
                <a:lnTo>
                  <a:pt x="148648" y="1458391"/>
                </a:lnTo>
                <a:lnTo>
                  <a:pt x="143967" y="1418595"/>
                </a:lnTo>
                <a:lnTo>
                  <a:pt x="138114" y="1378799"/>
                </a:lnTo>
                <a:lnTo>
                  <a:pt x="133432" y="1339004"/>
                </a:lnTo>
                <a:lnTo>
                  <a:pt x="129921" y="1299208"/>
                </a:lnTo>
                <a:lnTo>
                  <a:pt x="131092" y="1261754"/>
                </a:lnTo>
                <a:lnTo>
                  <a:pt x="135773" y="1225469"/>
                </a:lnTo>
                <a:lnTo>
                  <a:pt x="146308" y="1190356"/>
                </a:lnTo>
                <a:lnTo>
                  <a:pt x="161523" y="1161094"/>
                </a:lnTo>
                <a:lnTo>
                  <a:pt x="181421" y="1133003"/>
                </a:lnTo>
                <a:lnTo>
                  <a:pt x="204830" y="1108424"/>
                </a:lnTo>
                <a:lnTo>
                  <a:pt x="231751" y="1083844"/>
                </a:lnTo>
                <a:lnTo>
                  <a:pt x="259842" y="1061605"/>
                </a:lnTo>
                <a:lnTo>
                  <a:pt x="289103" y="1039367"/>
                </a:lnTo>
                <a:lnTo>
                  <a:pt x="318365" y="1017128"/>
                </a:lnTo>
                <a:lnTo>
                  <a:pt x="347626" y="994889"/>
                </a:lnTo>
                <a:lnTo>
                  <a:pt x="374547" y="971480"/>
                </a:lnTo>
                <a:lnTo>
                  <a:pt x="397956" y="944560"/>
                </a:lnTo>
                <a:lnTo>
                  <a:pt x="419024" y="918809"/>
                </a:lnTo>
                <a:lnTo>
                  <a:pt x="435411" y="889548"/>
                </a:lnTo>
                <a:lnTo>
                  <a:pt x="449456" y="857946"/>
                </a:lnTo>
                <a:lnTo>
                  <a:pt x="461161" y="824002"/>
                </a:lnTo>
                <a:lnTo>
                  <a:pt x="471695" y="788889"/>
                </a:lnTo>
                <a:lnTo>
                  <a:pt x="481059" y="753775"/>
                </a:lnTo>
                <a:lnTo>
                  <a:pt x="490422" y="717491"/>
                </a:lnTo>
                <a:lnTo>
                  <a:pt x="500956" y="683547"/>
                </a:lnTo>
                <a:lnTo>
                  <a:pt x="512661" y="649604"/>
                </a:lnTo>
                <a:lnTo>
                  <a:pt x="526706" y="618002"/>
                </a:lnTo>
                <a:lnTo>
                  <a:pt x="544263" y="589911"/>
                </a:lnTo>
                <a:lnTo>
                  <a:pt x="565332" y="564161"/>
                </a:lnTo>
                <a:lnTo>
                  <a:pt x="591082" y="543092"/>
                </a:lnTo>
                <a:lnTo>
                  <a:pt x="619173" y="525535"/>
                </a:lnTo>
                <a:lnTo>
                  <a:pt x="650775" y="511490"/>
                </a:lnTo>
                <a:lnTo>
                  <a:pt x="684718" y="499785"/>
                </a:lnTo>
                <a:lnTo>
                  <a:pt x="718662" y="489251"/>
                </a:lnTo>
                <a:lnTo>
                  <a:pt x="754946" y="479888"/>
                </a:lnTo>
                <a:lnTo>
                  <a:pt x="790059" y="470524"/>
                </a:lnTo>
                <a:lnTo>
                  <a:pt x="825173" y="459990"/>
                </a:lnTo>
                <a:lnTo>
                  <a:pt x="859116" y="448285"/>
                </a:lnTo>
                <a:lnTo>
                  <a:pt x="890719" y="434240"/>
                </a:lnTo>
                <a:lnTo>
                  <a:pt x="919980" y="417853"/>
                </a:lnTo>
                <a:lnTo>
                  <a:pt x="945730" y="396785"/>
                </a:lnTo>
                <a:lnTo>
                  <a:pt x="972651" y="373376"/>
                </a:lnTo>
                <a:lnTo>
                  <a:pt x="996060" y="346455"/>
                </a:lnTo>
                <a:lnTo>
                  <a:pt x="1018299" y="318364"/>
                </a:lnTo>
                <a:lnTo>
                  <a:pt x="1040537" y="289103"/>
                </a:lnTo>
                <a:lnTo>
                  <a:pt x="1062776" y="259841"/>
                </a:lnTo>
                <a:lnTo>
                  <a:pt x="1085015" y="231750"/>
                </a:lnTo>
                <a:lnTo>
                  <a:pt x="1109594" y="204830"/>
                </a:lnTo>
                <a:lnTo>
                  <a:pt x="1134174" y="181421"/>
                </a:lnTo>
                <a:lnTo>
                  <a:pt x="1162265" y="161523"/>
                </a:lnTo>
                <a:lnTo>
                  <a:pt x="1191526" y="146307"/>
                </a:lnTo>
                <a:lnTo>
                  <a:pt x="1226640" y="135773"/>
                </a:lnTo>
                <a:lnTo>
                  <a:pt x="1262924" y="131091"/>
                </a:lnTo>
                <a:lnTo>
                  <a:pt x="1300379" y="129921"/>
                </a:lnTo>
                <a:lnTo>
                  <a:pt x="1340175" y="133432"/>
                </a:lnTo>
                <a:lnTo>
                  <a:pt x="1379970" y="138114"/>
                </a:lnTo>
                <a:lnTo>
                  <a:pt x="1419766" y="143966"/>
                </a:lnTo>
                <a:lnTo>
                  <a:pt x="1459561" y="148648"/>
                </a:lnTo>
                <a:lnTo>
                  <a:pt x="1499357" y="150989"/>
                </a:lnTo>
                <a:lnTo>
                  <a:pt x="1537982" y="150989"/>
                </a:lnTo>
                <a:lnTo>
                  <a:pt x="1574266" y="146307"/>
                </a:lnTo>
                <a:lnTo>
                  <a:pt x="1610550" y="136943"/>
                </a:lnTo>
                <a:lnTo>
                  <a:pt x="1645664" y="122898"/>
                </a:lnTo>
                <a:lnTo>
                  <a:pt x="1680778" y="104171"/>
                </a:lnTo>
                <a:lnTo>
                  <a:pt x="1715892" y="85443"/>
                </a:lnTo>
                <a:lnTo>
                  <a:pt x="1751005" y="64375"/>
                </a:lnTo>
                <a:lnTo>
                  <a:pt x="1784949" y="44477"/>
                </a:lnTo>
                <a:lnTo>
                  <a:pt x="1821233" y="26920"/>
                </a:lnTo>
                <a:lnTo>
                  <a:pt x="1856347" y="12875"/>
                </a:lnTo>
                <a:lnTo>
                  <a:pt x="1892631" y="3511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649C214-D583-4DF7-88CA-1EE5EA0DD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182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FE731D-F3FB-4AD6-BE70-5D4A3140C5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6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FE731D-F3FB-4AD6-BE70-5D4A3140C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D01DB7-A332-4575-BE60-F27DA26D3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9" y="2286001"/>
            <a:ext cx="4518670" cy="261430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en-GB" sz="1900"/>
          </a:p>
          <a:p>
            <a:pPr>
              <a:lnSpc>
                <a:spcPct val="100000"/>
              </a:lnSpc>
            </a:pPr>
            <a:r>
              <a:rPr lang="en-GB" sz="1900"/>
              <a:t>Clear and fast understand if there is a problem at a site.</a:t>
            </a:r>
          </a:p>
          <a:p>
            <a:pPr>
              <a:lnSpc>
                <a:spcPct val="100000"/>
              </a:lnSpc>
            </a:pPr>
            <a:r>
              <a:rPr lang="en-GB" sz="1900"/>
              <a:t>Automated       Reduce risk</a:t>
            </a:r>
          </a:p>
          <a:p>
            <a:pPr>
              <a:lnSpc>
                <a:spcPct val="100000"/>
              </a:lnSpc>
            </a:pPr>
            <a:r>
              <a:rPr lang="en-GB" sz="1900">
                <a:ea typeface="+mn-lt"/>
                <a:cs typeface="+mn-lt"/>
              </a:rPr>
              <a:t>The report is updated daily</a:t>
            </a:r>
            <a:endParaRPr lang="en-GB" sz="1900"/>
          </a:p>
          <a:p>
            <a:pPr marL="0" indent="0">
              <a:lnSpc>
                <a:spcPct val="100000"/>
              </a:lnSpc>
              <a:buNone/>
            </a:pPr>
            <a:r>
              <a:rPr lang="en-GB" sz="1900"/>
              <a:t> </a:t>
            </a:r>
          </a:p>
          <a:p>
            <a:pPr>
              <a:lnSpc>
                <a:spcPct val="100000"/>
              </a:lnSpc>
            </a:pPr>
            <a:endParaRPr lang="en-CH" sz="1900"/>
          </a:p>
        </p:txBody>
      </p:sp>
      <p:pic>
        <p:nvPicPr>
          <p:cNvPr id="1026" name="Picture 2" descr="Related image">
            <a:extLst>
              <a:ext uri="{FF2B5EF4-FFF2-40B4-BE49-F238E27FC236}">
                <a16:creationId xmlns:a16="http://schemas.microsoft.com/office/drawing/2014/main" id="{93582F42-2BB7-441A-B925-B82F157D8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9624" y="645107"/>
            <a:ext cx="4375160" cy="5594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8198EEF-4493-4656-B563-A3E9CEFAB463}"/>
              </a:ext>
            </a:extLst>
          </p:cNvPr>
          <p:cNvSpPr txBox="1">
            <a:spLocks/>
          </p:cNvSpPr>
          <p:nvPr/>
        </p:nvSpPr>
        <p:spPr>
          <a:xfrm>
            <a:off x="1251679" y="388870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Benefits</a:t>
            </a:r>
            <a:endParaRPr lang="en-CH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715D0FD4-BF25-4A17-B2DA-EECC56EBF5E2}"/>
              </a:ext>
            </a:extLst>
          </p:cNvPr>
          <p:cNvSpPr/>
          <p:nvPr/>
        </p:nvSpPr>
        <p:spPr>
          <a:xfrm>
            <a:off x="2734760" y="3403023"/>
            <a:ext cx="337351" cy="2374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79334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8C1AE8-3EAA-42F3-A0DC-9817EA6B4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mpetition</a:t>
            </a:r>
            <a:endParaRPr lang="en-CH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6442D0-F68A-48E2-8AEF-D1595908984D}"/>
              </a:ext>
            </a:extLst>
          </p:cNvPr>
          <p:cNvSpPr txBox="1"/>
          <p:nvPr/>
        </p:nvSpPr>
        <p:spPr>
          <a:xfrm>
            <a:off x="1251678" y="2039888"/>
            <a:ext cx="4653011" cy="34163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urrent manual procedure using Exc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Several 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3</a:t>
            </a:r>
            <a:r>
              <a:rPr lang="en-US" baseline="30000"/>
              <a:t>rd</a:t>
            </a:r>
            <a:r>
              <a:rPr lang="en-US"/>
              <a:t> Party companies (BI Consultanc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ther software's (Qlik, Tableau, </a:t>
            </a:r>
            <a:r>
              <a:rPr lang="en-US" err="1"/>
              <a:t>etc</a:t>
            </a:r>
            <a:r>
              <a:rPr lang="en-US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4104" name="Picture 8" descr="https://c1.sfdcstatic.com/content/dam/blogs/us/thumbnails/want-to-motivate-your-sales-team-try-healthy-competition/salescompetition.png">
            <a:extLst>
              <a:ext uri="{FF2B5EF4-FFF2-40B4-BE49-F238E27FC236}">
                <a16:creationId xmlns:a16="http://schemas.microsoft.com/office/drawing/2014/main" id="{E103F51A-BFCE-4308-B9E5-2D03FFF932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288" y="1811257"/>
            <a:ext cx="4748712" cy="323548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2227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22A8A-8709-4671-AEED-B822261068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303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F22A8A-8709-4671-AEED-B82226106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00F479-D12B-475A-8F3A-67E761730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</a:t>
            </a:r>
          </a:p>
        </p:txBody>
      </p:sp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393CC85C-093E-4A02-9A38-A2510D4AD8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0221" y="4327081"/>
            <a:ext cx="3771870" cy="214853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3026EF9-3905-4CF3-8D0D-39B596F9F07C}"/>
              </a:ext>
            </a:extLst>
          </p:cNvPr>
          <p:cNvSpPr txBox="1"/>
          <p:nvPr/>
        </p:nvSpPr>
        <p:spPr>
          <a:xfrm>
            <a:off x="1251678" y="2551837"/>
            <a:ext cx="5470135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ur solution is scal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Easy to add more data from other t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olution is already partially implemen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The stakeholders are coming with new requirements</a:t>
            </a:r>
          </a:p>
        </p:txBody>
      </p:sp>
    </p:spTree>
    <p:extLst>
      <p:ext uri="{BB962C8B-B14F-4D97-AF65-F5344CB8AC3E}">
        <p14:creationId xmlns:p14="http://schemas.microsoft.com/office/powerpoint/2010/main" val="1442762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lo7425Udlesh7rjV0L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Badge">
      <a:dk1>
        <a:sysClr val="windowText" lastClr="000000"/>
      </a:dk1>
      <a:lt1>
        <a:sysClr val="window" lastClr="FFFFFF"/>
      </a:lt1>
      <a:dk2>
        <a:srgbClr val="2A1A00"/>
      </a:dk2>
      <a:lt2>
        <a:srgbClr val="F3F3F2"/>
      </a:lt2>
      <a:accent1>
        <a:srgbClr val="F8B323"/>
      </a:accent1>
      <a:accent2>
        <a:srgbClr val="656A59"/>
      </a:accent2>
      <a:accent3>
        <a:srgbClr val="46B2B5"/>
      </a:accent3>
      <a:accent4>
        <a:srgbClr val="8CAA7E"/>
      </a:accent4>
      <a:accent5>
        <a:srgbClr val="D36F68"/>
      </a:accent5>
      <a:accent6>
        <a:srgbClr val="826276"/>
      </a:accent6>
      <a:hlink>
        <a:srgbClr val="46B2B5"/>
      </a:hlink>
      <a:folHlink>
        <a:srgbClr val="A46694"/>
      </a:folHlink>
    </a:clrScheme>
    <a:fontScheme name="Badge">
      <a:majorFont>
        <a:latin typeface="Impact" panose="020B080603090205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メイリオ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Application>Microsoft Office PowerPoint</Application>
  <PresentationFormat>Widescreen</PresentationFormat>
  <Slides>6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Badge</vt:lpstr>
      <vt:lpstr>Business Intelligence dashboard</vt:lpstr>
      <vt:lpstr>Need</vt:lpstr>
      <vt:lpstr>Approach</vt:lpstr>
      <vt:lpstr>PowerPoint Presentation</vt:lpstr>
      <vt:lpstr>Competition</vt:lpstr>
      <vt:lpstr>Fu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Intelligence dashboard</dc:title>
  <dc:creator>Rafael Rocha dos Santos</dc:creator>
  <cp:revision>1</cp:revision>
  <dcterms:created xsi:type="dcterms:W3CDTF">2019-12-19T19:27:03Z</dcterms:created>
  <dcterms:modified xsi:type="dcterms:W3CDTF">2019-12-19T19:48:39Z</dcterms:modified>
</cp:coreProperties>
</file>